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314" r:id="rId2"/>
    <p:sldId id="4607" r:id="rId3"/>
    <p:sldId id="4610" r:id="rId4"/>
    <p:sldId id="4611" r:id="rId5"/>
    <p:sldId id="4612" r:id="rId6"/>
    <p:sldId id="4613" r:id="rId7"/>
    <p:sldId id="4614" r:id="rId8"/>
    <p:sldId id="4615" r:id="rId9"/>
    <p:sldId id="4616" r:id="rId10"/>
    <p:sldId id="4601" r:id="rId11"/>
    <p:sldId id="4608" r:id="rId12"/>
    <p:sldId id="258" r:id="rId13"/>
  </p:sldIdLst>
  <p:sldSz cx="12192000" cy="6858000"/>
  <p:notesSz cx="7010400" cy="92964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596"/>
    <a:srgbClr val="074D67"/>
    <a:srgbClr val="FCB414"/>
    <a:srgbClr val="CB1B4A"/>
    <a:srgbClr val="42AFB6"/>
    <a:srgbClr val="C2C923"/>
    <a:srgbClr val="007A7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727748-199C-4DBA-9AEB-35F292B629C1}" v="2" dt="2022-12-05T08:20:54.8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395" autoAdjust="0"/>
  </p:normalViewPr>
  <p:slideViewPr>
    <p:cSldViewPr snapToGrid="0">
      <p:cViewPr varScale="1">
        <p:scale>
          <a:sx n="107" d="100"/>
          <a:sy n="107" d="100"/>
        </p:scale>
        <p:origin x="138" y="12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96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rta Tímea" userId="f0e8ef6d-e019-49f2-8dd6-183012018af4" providerId="ADAL" clId="{61727748-199C-4DBA-9AEB-35F292B629C1}"/>
    <pc:docChg chg="undo custSel modSld">
      <pc:chgData name="Barta Tímea" userId="f0e8ef6d-e019-49f2-8dd6-183012018af4" providerId="ADAL" clId="{61727748-199C-4DBA-9AEB-35F292B629C1}" dt="2022-12-05T11:04:30.704" v="42" actId="20577"/>
      <pc:docMkLst>
        <pc:docMk/>
      </pc:docMkLst>
      <pc:sldChg chg="modSp mod">
        <pc:chgData name="Barta Tímea" userId="f0e8ef6d-e019-49f2-8dd6-183012018af4" providerId="ADAL" clId="{61727748-199C-4DBA-9AEB-35F292B629C1}" dt="2022-12-05T11:04:30.704" v="42" actId="20577"/>
        <pc:sldMkLst>
          <pc:docMk/>
          <pc:sldMk cId="4135245656" sldId="314"/>
        </pc:sldMkLst>
        <pc:spChg chg="mod">
          <ac:chgData name="Barta Tímea" userId="f0e8ef6d-e019-49f2-8dd6-183012018af4" providerId="ADAL" clId="{61727748-199C-4DBA-9AEB-35F292B629C1}" dt="2022-12-05T11:04:30.704" v="42" actId="20577"/>
          <ac:spMkLst>
            <pc:docMk/>
            <pc:sldMk cId="4135245656" sldId="314"/>
            <ac:spMk id="5" creationId="{00000000-0000-0000-0000-000000000000}"/>
          </ac:spMkLst>
        </pc:spChg>
      </pc:sldChg>
      <pc:sldChg chg="addSp modSp mod">
        <pc:chgData name="Barta Tímea" userId="f0e8ef6d-e019-49f2-8dd6-183012018af4" providerId="ADAL" clId="{61727748-199C-4DBA-9AEB-35F292B629C1}" dt="2022-12-05T08:19:51.588" v="19" actId="13926"/>
        <pc:sldMkLst>
          <pc:docMk/>
          <pc:sldMk cId="3703193930" sldId="4601"/>
        </pc:sldMkLst>
        <pc:spChg chg="add mod">
          <ac:chgData name="Barta Tímea" userId="f0e8ef6d-e019-49f2-8dd6-183012018af4" providerId="ADAL" clId="{61727748-199C-4DBA-9AEB-35F292B629C1}" dt="2022-12-05T08:19:51.588" v="19" actId="13926"/>
          <ac:spMkLst>
            <pc:docMk/>
            <pc:sldMk cId="3703193930" sldId="4601"/>
            <ac:spMk id="6" creationId="{D4A0A04A-C37E-6E84-F9B5-0956322AB312}"/>
          </ac:spMkLst>
        </pc:spChg>
      </pc:sldChg>
      <pc:sldChg chg="modSp mod modShow">
        <pc:chgData name="Barta Tímea" userId="f0e8ef6d-e019-49f2-8dd6-183012018af4" providerId="ADAL" clId="{61727748-199C-4DBA-9AEB-35F292B629C1}" dt="2022-12-05T08:53:54.999" v="22" actId="14100"/>
        <pc:sldMkLst>
          <pc:docMk/>
          <pc:sldMk cId="2871628322" sldId="4607"/>
        </pc:sldMkLst>
        <pc:spChg chg="mod">
          <ac:chgData name="Barta Tímea" userId="f0e8ef6d-e019-49f2-8dd6-183012018af4" providerId="ADAL" clId="{61727748-199C-4DBA-9AEB-35F292B629C1}" dt="2022-12-05T08:53:54.999" v="22" actId="14100"/>
          <ac:spMkLst>
            <pc:docMk/>
            <pc:sldMk cId="2871628322" sldId="4607"/>
            <ac:spMk id="9" creationId="{00000000-0000-0000-0000-000000000000}"/>
          </ac:spMkLst>
        </pc:spChg>
      </pc:sldChg>
      <pc:sldChg chg="addSp modSp mod">
        <pc:chgData name="Barta Tímea" userId="f0e8ef6d-e019-49f2-8dd6-183012018af4" providerId="ADAL" clId="{61727748-199C-4DBA-9AEB-35F292B629C1}" dt="2022-12-05T08:20:56.660" v="21" actId="1076"/>
        <pc:sldMkLst>
          <pc:docMk/>
          <pc:sldMk cId="4176173254" sldId="4608"/>
        </pc:sldMkLst>
        <pc:spChg chg="add mod">
          <ac:chgData name="Barta Tímea" userId="f0e8ef6d-e019-49f2-8dd6-183012018af4" providerId="ADAL" clId="{61727748-199C-4DBA-9AEB-35F292B629C1}" dt="2022-12-05T08:20:56.660" v="21" actId="1076"/>
          <ac:spMkLst>
            <pc:docMk/>
            <pc:sldMk cId="4176173254" sldId="4608"/>
            <ac:spMk id="2" creationId="{619EAB4B-3F24-F715-F3E4-5CC500B61474}"/>
          </ac:spMkLst>
        </pc:spChg>
      </pc:sldChg>
      <pc:sldChg chg="modSp mod">
        <pc:chgData name="Barta Tímea" userId="f0e8ef6d-e019-49f2-8dd6-183012018af4" providerId="ADAL" clId="{61727748-199C-4DBA-9AEB-35F292B629C1}" dt="2022-12-05T08:54:58.411" v="36" actId="27636"/>
        <pc:sldMkLst>
          <pc:docMk/>
          <pc:sldMk cId="2201764342" sldId="4610"/>
        </pc:sldMkLst>
        <pc:spChg chg="mod">
          <ac:chgData name="Barta Tímea" userId="f0e8ef6d-e019-49f2-8dd6-183012018af4" providerId="ADAL" clId="{61727748-199C-4DBA-9AEB-35F292B629C1}" dt="2022-12-05T08:54:58.411" v="36" actId="27636"/>
          <ac:spMkLst>
            <pc:docMk/>
            <pc:sldMk cId="2201764342" sldId="4610"/>
            <ac:spMk id="5" creationId="{12B83846-4010-7031-DA39-181E45DFE2EC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haas\Documents\ESMGE\Diagramm%20Reaktionsverteilung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1944444444444442E-2"/>
          <c:y val="4.6272236803732859E-2"/>
          <c:w val="0.96805553595547511"/>
          <c:h val="0.91647421074632818"/>
        </c:manualLayout>
      </c:layout>
      <c:pie3DChart>
        <c:varyColors val="1"/>
        <c:ser>
          <c:idx val="0"/>
          <c:order val="0"/>
          <c:spPr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  <a:contourClr>
                <a:srgbClr val="000000"/>
              </a:contourClr>
            </a:sp3d>
          </c:spPr>
          <c:explosion val="25"/>
          <c:dPt>
            <c:idx val="0"/>
            <c:bubble3D val="0"/>
            <c:spPr>
              <a:solidFill>
                <a:srgbClr val="00FFFF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E59-4C3F-9DBD-AE253C69EE53}"/>
              </c:ext>
            </c:extLst>
          </c:dPt>
          <c:dPt>
            <c:idx val="1"/>
            <c:bubble3D val="0"/>
            <c:spPr>
              <a:solidFill>
                <a:srgbClr val="FFFF00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E59-4C3F-9DBD-AE253C69EE53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4E59-4C3F-9DBD-AE253C69EE53}"/>
              </c:ext>
            </c:extLst>
          </c:dPt>
          <c:dLbls>
            <c:dLbl>
              <c:idx val="0"/>
              <c:layout>
                <c:manualLayout>
                  <c:x val="-0.10596619115101132"/>
                  <c:y val="6.33829782218948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E59-4C3F-9DBD-AE253C69EE53}"/>
                </c:ext>
              </c:extLst>
            </c:dLbl>
            <c:dLbl>
              <c:idx val="1"/>
              <c:layout>
                <c:manualLayout>
                  <c:x val="-0.2427121463393094"/>
                  <c:y val="-0.338013046755604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E59-4C3F-9DBD-AE253C69EE53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latin typeface="Calibri" panose="020F0502020204030204" pitchFamily="34" charset="0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1:$A$3</c:f>
              <c:strCache>
                <c:ptCount val="3"/>
                <c:pt idx="0">
                  <c:v>Available lime</c:v>
                </c:pt>
                <c:pt idx="1">
                  <c:v>Puzzolanic reaction</c:v>
                </c:pt>
                <c:pt idx="2">
                  <c:v>Carbonation</c:v>
                </c:pt>
              </c:strCache>
            </c:strRef>
          </c:cat>
          <c:val>
            <c:numRef>
              <c:f>Tabelle1!$B$1:$B$3</c:f>
              <c:numCache>
                <c:formatCode>General</c:formatCode>
                <c:ptCount val="3"/>
                <c:pt idx="0">
                  <c:v>0.14000000000000001</c:v>
                </c:pt>
                <c:pt idx="1">
                  <c:v>0.46</c:v>
                </c:pt>
                <c:pt idx="2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E59-4C3F-9DBD-AE253C69EE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scene3d>
          <a:camera prst="orthographicFront"/>
          <a:lightRig rig="threePt" dir="t"/>
        </a:scene3d>
        <a:sp3d/>
      </c:spPr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70646766169153E-2"/>
          <c:y val="7.6122931442080377E-2"/>
          <c:w val="0.94825870646766164"/>
          <c:h val="0.8510638297872340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27C22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902-4B96-A09A-3AB3A14F11F4}"/>
              </c:ext>
            </c:extLst>
          </c:dPt>
          <c:dLbls>
            <c:dLbl>
              <c:idx val="0"/>
              <c:layout>
                <c:manualLayout>
                  <c:x val="0"/>
                  <c:y val="-0.3489361702127659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02-4B96-A09A-3AB3A14F11F4}"/>
                </c:ext>
              </c:extLst>
            </c:dLbl>
            <c:dLbl>
              <c:idx val="1"/>
              <c:layout>
                <c:manualLayout>
                  <c:x val="0"/>
                  <c:y val="-0.2193853427895981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02-4B96-A09A-3AB3A14F11F4}"/>
                </c:ext>
              </c:extLst>
            </c:dLbl>
            <c:dLbl>
              <c:idx val="2"/>
              <c:layout>
                <c:manualLayout>
                  <c:x val="0"/>
                  <c:y val="-0.148936170212765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02-4B96-A09A-3AB3A14F11F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856</c:v>
                </c:pt>
                <c:pt idx="1">
                  <c:v>500</c:v>
                </c:pt>
                <c:pt idx="2">
                  <c:v>-3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902-4B96-A09A-3AB3A14F11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8977536"/>
        <c:axId val="1"/>
      </c:barChart>
      <c:catAx>
        <c:axId val="2058977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856"/>
          <c:min val="-314"/>
        </c:scaling>
        <c:delete val="1"/>
        <c:axPos val="l"/>
        <c:numFmt formatCode="General" sourceLinked="1"/>
        <c:majorTickMark val="out"/>
        <c:minorTickMark val="none"/>
        <c:tickLblPos val="nextTo"/>
        <c:crossAx val="20589775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F5CC83-93CF-47E1-ADC3-69FD02B9AC0F}" type="doc">
      <dgm:prSet loTypeId="urn:microsoft.com/office/officeart/2009/3/layout/HorizontalOrganizationChart" loCatId="hierarchy" qsTypeId="urn:microsoft.com/office/officeart/2005/8/quickstyle/3d3" qsCatId="3D" csTypeId="urn:microsoft.com/office/officeart/2005/8/colors/accent2_2" csCatId="accent2" phldr="1"/>
      <dgm:spPr/>
      <dgm:t>
        <a:bodyPr/>
        <a:lstStyle/>
        <a:p>
          <a:endParaRPr lang="de-DE"/>
        </a:p>
      </dgm:t>
    </dgm:pt>
    <dgm:pt modelId="{184D1412-02FE-4E31-B8FD-7D0F7974A609}">
      <dgm:prSet phldrT="[Text]" custT="1"/>
      <dgm:spPr>
        <a:solidFill>
          <a:srgbClr val="333399"/>
        </a:solidFill>
        <a:effectLst/>
      </dgm:spPr>
      <dgm:t>
        <a:bodyPr/>
        <a:lstStyle/>
        <a:p>
          <a:r>
            <a:rPr lang="de-DE" sz="1600" dirty="0" err="1">
              <a:latin typeface="Calibri" panose="020F0502020204030204" pitchFamily="34" charset="0"/>
            </a:rPr>
            <a:t>Ca</a:t>
          </a:r>
          <a:r>
            <a:rPr lang="de-DE" sz="1600" dirty="0">
              <a:latin typeface="Calibri" panose="020F0502020204030204" pitchFamily="34" charset="0"/>
            </a:rPr>
            <a:t>(OH)</a:t>
          </a:r>
          <a:r>
            <a:rPr lang="de-DE" sz="1600" baseline="-25000" dirty="0">
              <a:latin typeface="Calibri" panose="020F0502020204030204" pitchFamily="34" charset="0"/>
            </a:rPr>
            <a:t>2</a:t>
          </a:r>
        </a:p>
      </dgm:t>
    </dgm:pt>
    <dgm:pt modelId="{C6A22EF0-1294-49E6-9FD1-14EC2054EEB8}" type="parTrans" cxnId="{956BF648-F358-43CD-9BD0-766F3866E123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2CEA5246-4C86-4536-93D2-077D8C94C5F9}" type="sibTrans" cxnId="{956BF648-F358-43CD-9BD0-766F3866E123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4CCF6AA2-776A-4A35-8915-02669E0405DE}">
      <dgm:prSet phldrT="[Text]" custT="1"/>
      <dgm:spPr>
        <a:solidFill>
          <a:srgbClr val="333399"/>
        </a:solidFill>
        <a:effectLst/>
      </dgm:spPr>
      <dgm:t>
        <a:bodyPr/>
        <a:lstStyle/>
        <a:p>
          <a:r>
            <a:rPr lang="de-DE" sz="1600" dirty="0">
              <a:latin typeface="Calibri" panose="020F0502020204030204" pitchFamily="34" charset="0"/>
            </a:rPr>
            <a:t>CSH</a:t>
          </a:r>
        </a:p>
      </dgm:t>
    </dgm:pt>
    <dgm:pt modelId="{DEE73417-693C-4384-94A8-06A8D120C54C}" type="parTrans" cxnId="{DB000DB7-E63D-4276-B01F-CCA98376566E}">
      <dgm:prSet/>
      <dgm:spPr>
        <a:ln>
          <a:noFill/>
        </a:ln>
      </dgm:spPr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8E95547F-EEB6-4300-97BA-1EE2B4EB2207}" type="sibTrans" cxnId="{DB000DB7-E63D-4276-B01F-CCA98376566E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578AC01A-E358-48B5-B3F4-B55FE990DBD2}">
      <dgm:prSet phldrT="[Text]" custT="1"/>
      <dgm:spPr>
        <a:solidFill>
          <a:srgbClr val="333399"/>
        </a:solidFill>
        <a:effectLst/>
      </dgm:spPr>
      <dgm:t>
        <a:bodyPr/>
        <a:lstStyle/>
        <a:p>
          <a:r>
            <a:rPr lang="de-DE" sz="1600" dirty="0">
              <a:latin typeface="Calibri" panose="020F0502020204030204" pitchFamily="34" charset="0"/>
            </a:rPr>
            <a:t>CaCO</a:t>
          </a:r>
          <a:r>
            <a:rPr lang="de-DE" sz="1600" baseline="-25000" dirty="0">
              <a:latin typeface="Calibri" panose="020F0502020204030204" pitchFamily="34" charset="0"/>
            </a:rPr>
            <a:t>3</a:t>
          </a:r>
        </a:p>
      </dgm:t>
    </dgm:pt>
    <dgm:pt modelId="{FBCB06FD-8A89-4C18-8AD4-6E6E17C7B273}" type="parTrans" cxnId="{B98909AF-2253-4DB8-9E12-E1E55439A3B1}">
      <dgm:prSet/>
      <dgm:spPr>
        <a:ln>
          <a:noFill/>
        </a:ln>
      </dgm:spPr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58DA52CB-A516-4AB8-9CA2-4B9AB3F78094}" type="sibTrans" cxnId="{B98909AF-2253-4DB8-9E12-E1E55439A3B1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D061CE4F-E1D2-4FD8-9D7D-AF3B79393D05}">
      <dgm:prSet custT="1"/>
      <dgm:spPr>
        <a:solidFill>
          <a:srgbClr val="333399"/>
        </a:solidFill>
        <a:effectLst/>
      </dgm:spPr>
      <dgm:t>
        <a:bodyPr/>
        <a:lstStyle/>
        <a:p>
          <a:r>
            <a:rPr lang="de-DE" sz="1600" dirty="0">
              <a:latin typeface="Calibri" panose="020F0502020204030204" pitchFamily="34" charset="0"/>
            </a:rPr>
            <a:t>CaO</a:t>
          </a:r>
        </a:p>
      </dgm:t>
    </dgm:pt>
    <dgm:pt modelId="{4463CB04-2CAA-44DB-910D-BCC94B8AA62D}" type="parTrans" cxnId="{CC3084A6-F407-4680-B465-134A8F021B7E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482D2849-79A3-478A-B4BF-B5F04647F488}" type="sibTrans" cxnId="{CC3084A6-F407-4680-B465-134A8F021B7E}">
      <dgm:prSet/>
      <dgm:spPr/>
      <dgm:t>
        <a:bodyPr/>
        <a:lstStyle/>
        <a:p>
          <a:endParaRPr lang="de-DE" sz="2000">
            <a:latin typeface="Calibri" panose="020F0502020204030204" pitchFamily="34" charset="0"/>
          </a:endParaRPr>
        </a:p>
      </dgm:t>
    </dgm:pt>
    <dgm:pt modelId="{DE9D5940-2E3F-474C-AB5A-B1CE47413BE1}" type="pres">
      <dgm:prSet presAssocID="{85F5CC83-93CF-47E1-ADC3-69FD02B9AC0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F8525BE-29D9-4A1F-A7E9-A1C9109A5A00}" type="pres">
      <dgm:prSet presAssocID="{D061CE4F-E1D2-4FD8-9D7D-AF3B79393D05}" presName="hierRoot1" presStyleCnt="0">
        <dgm:presLayoutVars>
          <dgm:hierBranch val="init"/>
        </dgm:presLayoutVars>
      </dgm:prSet>
      <dgm:spPr/>
    </dgm:pt>
    <dgm:pt modelId="{8B620284-A71F-41D5-AF99-3F99CA14BC61}" type="pres">
      <dgm:prSet presAssocID="{D061CE4F-E1D2-4FD8-9D7D-AF3B79393D05}" presName="rootComposite1" presStyleCnt="0"/>
      <dgm:spPr/>
    </dgm:pt>
    <dgm:pt modelId="{1D2A8940-FC78-45F4-808A-2FAB5C1D179D}" type="pres">
      <dgm:prSet presAssocID="{D061CE4F-E1D2-4FD8-9D7D-AF3B79393D05}" presName="rootText1" presStyleLbl="node0" presStyleIdx="0" presStyleCnt="1" custScaleX="45584" custScaleY="51998">
        <dgm:presLayoutVars>
          <dgm:chPref val="3"/>
        </dgm:presLayoutVars>
      </dgm:prSet>
      <dgm:spPr>
        <a:prstGeom prst="roundRect">
          <a:avLst/>
        </a:prstGeom>
      </dgm:spPr>
    </dgm:pt>
    <dgm:pt modelId="{EAFA5581-FD11-40DD-A094-272879A58AE5}" type="pres">
      <dgm:prSet presAssocID="{D061CE4F-E1D2-4FD8-9D7D-AF3B79393D05}" presName="rootConnector1" presStyleLbl="node1" presStyleIdx="0" presStyleCnt="0"/>
      <dgm:spPr/>
    </dgm:pt>
    <dgm:pt modelId="{086D526B-1FA9-4826-81ED-615C8995797D}" type="pres">
      <dgm:prSet presAssocID="{D061CE4F-E1D2-4FD8-9D7D-AF3B79393D05}" presName="hierChild2" presStyleCnt="0"/>
      <dgm:spPr/>
    </dgm:pt>
    <dgm:pt modelId="{3BF4AACC-6703-44B5-BEA6-E8B23565FFAD}" type="pres">
      <dgm:prSet presAssocID="{C6A22EF0-1294-49E6-9FD1-14EC2054EEB8}" presName="Name64" presStyleLbl="parChTrans1D2" presStyleIdx="0" presStyleCnt="1"/>
      <dgm:spPr/>
    </dgm:pt>
    <dgm:pt modelId="{5E4B04AD-FCEA-41DD-9601-CCB25AA8A393}" type="pres">
      <dgm:prSet presAssocID="{184D1412-02FE-4E31-B8FD-7D0F7974A609}" presName="hierRoot2" presStyleCnt="0">
        <dgm:presLayoutVars>
          <dgm:hierBranch val="init"/>
        </dgm:presLayoutVars>
      </dgm:prSet>
      <dgm:spPr/>
    </dgm:pt>
    <dgm:pt modelId="{E59AD300-907C-4CD5-98B8-59E11FC68968}" type="pres">
      <dgm:prSet presAssocID="{184D1412-02FE-4E31-B8FD-7D0F7974A609}" presName="rootComposite" presStyleCnt="0"/>
      <dgm:spPr/>
    </dgm:pt>
    <dgm:pt modelId="{3F265EC6-C808-4B23-834E-7159B0B19CB7}" type="pres">
      <dgm:prSet presAssocID="{184D1412-02FE-4E31-B8FD-7D0F7974A609}" presName="rootText" presStyleLbl="node2" presStyleIdx="0" presStyleCnt="1" custScaleX="45584" custScaleY="51998">
        <dgm:presLayoutVars>
          <dgm:chPref val="3"/>
        </dgm:presLayoutVars>
      </dgm:prSet>
      <dgm:spPr>
        <a:prstGeom prst="roundRect">
          <a:avLst/>
        </a:prstGeom>
      </dgm:spPr>
    </dgm:pt>
    <dgm:pt modelId="{DAA69410-9F32-45D5-9DB6-38E74CA77686}" type="pres">
      <dgm:prSet presAssocID="{184D1412-02FE-4E31-B8FD-7D0F7974A609}" presName="rootConnector" presStyleLbl="node2" presStyleIdx="0" presStyleCnt="1"/>
      <dgm:spPr/>
    </dgm:pt>
    <dgm:pt modelId="{404001D3-D3B7-4578-B6E3-5A74D476E866}" type="pres">
      <dgm:prSet presAssocID="{184D1412-02FE-4E31-B8FD-7D0F7974A609}" presName="hierChild4" presStyleCnt="0"/>
      <dgm:spPr/>
    </dgm:pt>
    <dgm:pt modelId="{903A33C8-77D0-4634-804A-0AD79724F44F}" type="pres">
      <dgm:prSet presAssocID="{DEE73417-693C-4384-94A8-06A8D120C54C}" presName="Name64" presStyleLbl="parChTrans1D3" presStyleIdx="0" presStyleCnt="2"/>
      <dgm:spPr/>
    </dgm:pt>
    <dgm:pt modelId="{DDD4D627-F3CA-40BA-A4DE-5CA293934DC9}" type="pres">
      <dgm:prSet presAssocID="{4CCF6AA2-776A-4A35-8915-02669E0405DE}" presName="hierRoot2" presStyleCnt="0">
        <dgm:presLayoutVars>
          <dgm:hierBranch val="init"/>
        </dgm:presLayoutVars>
      </dgm:prSet>
      <dgm:spPr/>
    </dgm:pt>
    <dgm:pt modelId="{3834FE89-9806-4AC8-B4E0-7C8FF1566493}" type="pres">
      <dgm:prSet presAssocID="{4CCF6AA2-776A-4A35-8915-02669E0405DE}" presName="rootComposite" presStyleCnt="0"/>
      <dgm:spPr/>
    </dgm:pt>
    <dgm:pt modelId="{7DD9B30A-E7C9-401D-B17F-6D98A72330AB}" type="pres">
      <dgm:prSet presAssocID="{4CCF6AA2-776A-4A35-8915-02669E0405DE}" presName="rootText" presStyleLbl="node3" presStyleIdx="0" presStyleCnt="2" custScaleX="45584" custScaleY="51998">
        <dgm:presLayoutVars>
          <dgm:chPref val="3"/>
        </dgm:presLayoutVars>
      </dgm:prSet>
      <dgm:spPr>
        <a:prstGeom prst="roundRect">
          <a:avLst/>
        </a:prstGeom>
      </dgm:spPr>
    </dgm:pt>
    <dgm:pt modelId="{0C78FB30-08A1-498B-AC26-7FC2665F2661}" type="pres">
      <dgm:prSet presAssocID="{4CCF6AA2-776A-4A35-8915-02669E0405DE}" presName="rootConnector" presStyleLbl="node3" presStyleIdx="0" presStyleCnt="2"/>
      <dgm:spPr/>
    </dgm:pt>
    <dgm:pt modelId="{A7332744-26DF-4F8E-BF3F-E8C110DDD6B9}" type="pres">
      <dgm:prSet presAssocID="{4CCF6AA2-776A-4A35-8915-02669E0405DE}" presName="hierChild4" presStyleCnt="0"/>
      <dgm:spPr/>
    </dgm:pt>
    <dgm:pt modelId="{7E457673-83FB-4D62-A6C3-4CF939FB6EA8}" type="pres">
      <dgm:prSet presAssocID="{4CCF6AA2-776A-4A35-8915-02669E0405DE}" presName="hierChild5" presStyleCnt="0"/>
      <dgm:spPr/>
    </dgm:pt>
    <dgm:pt modelId="{F4274EEE-10DD-4B0C-AB23-7E15322DFCD9}" type="pres">
      <dgm:prSet presAssocID="{FBCB06FD-8A89-4C18-8AD4-6E6E17C7B273}" presName="Name64" presStyleLbl="parChTrans1D3" presStyleIdx="1" presStyleCnt="2"/>
      <dgm:spPr/>
    </dgm:pt>
    <dgm:pt modelId="{16ACDD13-2DC2-42F5-B741-C8842BB3D538}" type="pres">
      <dgm:prSet presAssocID="{578AC01A-E358-48B5-B3F4-B55FE990DBD2}" presName="hierRoot2" presStyleCnt="0">
        <dgm:presLayoutVars>
          <dgm:hierBranch val="init"/>
        </dgm:presLayoutVars>
      </dgm:prSet>
      <dgm:spPr/>
    </dgm:pt>
    <dgm:pt modelId="{8D933A47-2401-450E-801F-5841BBF15E6A}" type="pres">
      <dgm:prSet presAssocID="{578AC01A-E358-48B5-B3F4-B55FE990DBD2}" presName="rootComposite" presStyleCnt="0"/>
      <dgm:spPr/>
    </dgm:pt>
    <dgm:pt modelId="{8700BE62-3161-4B66-A8EA-A626F56F0CB4}" type="pres">
      <dgm:prSet presAssocID="{578AC01A-E358-48B5-B3F4-B55FE990DBD2}" presName="rootText" presStyleLbl="node3" presStyleIdx="1" presStyleCnt="2" custScaleX="45584" custScaleY="51998" custLinFactNeighborX="1204" custLinFactNeighborY="422">
        <dgm:presLayoutVars>
          <dgm:chPref val="3"/>
        </dgm:presLayoutVars>
      </dgm:prSet>
      <dgm:spPr>
        <a:prstGeom prst="roundRect">
          <a:avLst/>
        </a:prstGeom>
      </dgm:spPr>
    </dgm:pt>
    <dgm:pt modelId="{B29A3361-92D0-487E-836D-CC624ED454A0}" type="pres">
      <dgm:prSet presAssocID="{578AC01A-E358-48B5-B3F4-B55FE990DBD2}" presName="rootConnector" presStyleLbl="node3" presStyleIdx="1" presStyleCnt="2"/>
      <dgm:spPr/>
    </dgm:pt>
    <dgm:pt modelId="{BD1C8C54-A02E-4107-9C7E-1A7DB9703053}" type="pres">
      <dgm:prSet presAssocID="{578AC01A-E358-48B5-B3F4-B55FE990DBD2}" presName="hierChild4" presStyleCnt="0"/>
      <dgm:spPr/>
    </dgm:pt>
    <dgm:pt modelId="{EA628F3D-54D5-419D-8367-627615859A98}" type="pres">
      <dgm:prSet presAssocID="{578AC01A-E358-48B5-B3F4-B55FE990DBD2}" presName="hierChild5" presStyleCnt="0"/>
      <dgm:spPr/>
    </dgm:pt>
    <dgm:pt modelId="{4F042BF6-5C84-48A9-8DD9-A1A7AF18449A}" type="pres">
      <dgm:prSet presAssocID="{184D1412-02FE-4E31-B8FD-7D0F7974A609}" presName="hierChild5" presStyleCnt="0"/>
      <dgm:spPr/>
    </dgm:pt>
    <dgm:pt modelId="{8AFA923D-9AEB-47B8-B5AB-6B5324F06F86}" type="pres">
      <dgm:prSet presAssocID="{D061CE4F-E1D2-4FD8-9D7D-AF3B79393D05}" presName="hierChild3" presStyleCnt="0"/>
      <dgm:spPr/>
    </dgm:pt>
  </dgm:ptLst>
  <dgm:cxnLst>
    <dgm:cxn modelId="{1C757D14-7783-4FF1-8E5E-6812D56A8371}" type="presOf" srcId="{FBCB06FD-8A89-4C18-8AD4-6E6E17C7B273}" destId="{F4274EEE-10DD-4B0C-AB23-7E15322DFCD9}" srcOrd="0" destOrd="0" presId="urn:microsoft.com/office/officeart/2009/3/layout/HorizontalOrganizationChart"/>
    <dgm:cxn modelId="{A4C2DA1F-2F4B-47A4-B8CD-E15E02CB6C4B}" type="presOf" srcId="{85F5CC83-93CF-47E1-ADC3-69FD02B9AC0F}" destId="{DE9D5940-2E3F-474C-AB5A-B1CE47413BE1}" srcOrd="0" destOrd="0" presId="urn:microsoft.com/office/officeart/2009/3/layout/HorizontalOrganizationChart"/>
    <dgm:cxn modelId="{BFA47A2E-EDE0-4FCB-9D8C-03216C0C4ABA}" type="presOf" srcId="{DEE73417-693C-4384-94A8-06A8D120C54C}" destId="{903A33C8-77D0-4634-804A-0AD79724F44F}" srcOrd="0" destOrd="0" presId="urn:microsoft.com/office/officeart/2009/3/layout/HorizontalOrganizationChart"/>
    <dgm:cxn modelId="{D20B3A60-366D-4F1C-926C-43A4F93342D1}" type="presOf" srcId="{184D1412-02FE-4E31-B8FD-7D0F7974A609}" destId="{DAA69410-9F32-45D5-9DB6-38E74CA77686}" srcOrd="1" destOrd="0" presId="urn:microsoft.com/office/officeart/2009/3/layout/HorizontalOrganizationChart"/>
    <dgm:cxn modelId="{DF602662-93FB-4185-AF22-92EE89A1B3A9}" type="presOf" srcId="{D061CE4F-E1D2-4FD8-9D7D-AF3B79393D05}" destId="{1D2A8940-FC78-45F4-808A-2FAB5C1D179D}" srcOrd="0" destOrd="0" presId="urn:microsoft.com/office/officeart/2009/3/layout/HorizontalOrganizationChart"/>
    <dgm:cxn modelId="{956BF648-F358-43CD-9BD0-766F3866E123}" srcId="{D061CE4F-E1D2-4FD8-9D7D-AF3B79393D05}" destId="{184D1412-02FE-4E31-B8FD-7D0F7974A609}" srcOrd="0" destOrd="0" parTransId="{C6A22EF0-1294-49E6-9FD1-14EC2054EEB8}" sibTransId="{2CEA5246-4C86-4536-93D2-077D8C94C5F9}"/>
    <dgm:cxn modelId="{00A6DC6D-1F10-4314-9823-6B25106328A7}" type="presOf" srcId="{578AC01A-E358-48B5-B3F4-B55FE990DBD2}" destId="{8700BE62-3161-4B66-A8EA-A626F56F0CB4}" srcOrd="0" destOrd="0" presId="urn:microsoft.com/office/officeart/2009/3/layout/HorizontalOrganizationChart"/>
    <dgm:cxn modelId="{198BAA75-7F4F-47F3-A758-8802519188FE}" type="presOf" srcId="{4CCF6AA2-776A-4A35-8915-02669E0405DE}" destId="{0C78FB30-08A1-498B-AC26-7FC2665F2661}" srcOrd="1" destOrd="0" presId="urn:microsoft.com/office/officeart/2009/3/layout/HorizontalOrganizationChart"/>
    <dgm:cxn modelId="{B05E4F82-C79C-439E-8754-01A7F25048A4}" type="presOf" srcId="{D061CE4F-E1D2-4FD8-9D7D-AF3B79393D05}" destId="{EAFA5581-FD11-40DD-A094-272879A58AE5}" srcOrd="1" destOrd="0" presId="urn:microsoft.com/office/officeart/2009/3/layout/HorizontalOrganizationChart"/>
    <dgm:cxn modelId="{CC3084A6-F407-4680-B465-134A8F021B7E}" srcId="{85F5CC83-93CF-47E1-ADC3-69FD02B9AC0F}" destId="{D061CE4F-E1D2-4FD8-9D7D-AF3B79393D05}" srcOrd="0" destOrd="0" parTransId="{4463CB04-2CAA-44DB-910D-BCC94B8AA62D}" sibTransId="{482D2849-79A3-478A-B4BF-B5F04647F488}"/>
    <dgm:cxn modelId="{B98909AF-2253-4DB8-9E12-E1E55439A3B1}" srcId="{184D1412-02FE-4E31-B8FD-7D0F7974A609}" destId="{578AC01A-E358-48B5-B3F4-B55FE990DBD2}" srcOrd="1" destOrd="0" parTransId="{FBCB06FD-8A89-4C18-8AD4-6E6E17C7B273}" sibTransId="{58DA52CB-A516-4AB8-9CA2-4B9AB3F78094}"/>
    <dgm:cxn modelId="{DB000DB7-E63D-4276-B01F-CCA98376566E}" srcId="{184D1412-02FE-4E31-B8FD-7D0F7974A609}" destId="{4CCF6AA2-776A-4A35-8915-02669E0405DE}" srcOrd="0" destOrd="0" parTransId="{DEE73417-693C-4384-94A8-06A8D120C54C}" sibTransId="{8E95547F-EEB6-4300-97BA-1EE2B4EB2207}"/>
    <dgm:cxn modelId="{81F3ACC8-5798-41CD-9E94-8DE8ED310FBD}" type="presOf" srcId="{C6A22EF0-1294-49E6-9FD1-14EC2054EEB8}" destId="{3BF4AACC-6703-44B5-BEA6-E8B23565FFAD}" srcOrd="0" destOrd="0" presId="urn:microsoft.com/office/officeart/2009/3/layout/HorizontalOrganizationChart"/>
    <dgm:cxn modelId="{637149CD-24F9-4C7C-8977-E86F3545AA8C}" type="presOf" srcId="{184D1412-02FE-4E31-B8FD-7D0F7974A609}" destId="{3F265EC6-C808-4B23-834E-7159B0B19CB7}" srcOrd="0" destOrd="0" presId="urn:microsoft.com/office/officeart/2009/3/layout/HorizontalOrganizationChart"/>
    <dgm:cxn modelId="{9864BFD5-DC0F-4E95-919F-48B69839E48E}" type="presOf" srcId="{4CCF6AA2-776A-4A35-8915-02669E0405DE}" destId="{7DD9B30A-E7C9-401D-B17F-6D98A72330AB}" srcOrd="0" destOrd="0" presId="urn:microsoft.com/office/officeart/2009/3/layout/HorizontalOrganizationChart"/>
    <dgm:cxn modelId="{6B4039EB-4B7E-46D7-92EA-04B5D8C0DF59}" type="presOf" srcId="{578AC01A-E358-48B5-B3F4-B55FE990DBD2}" destId="{B29A3361-92D0-487E-836D-CC624ED454A0}" srcOrd="1" destOrd="0" presId="urn:microsoft.com/office/officeart/2009/3/layout/HorizontalOrganizationChart"/>
    <dgm:cxn modelId="{5E094588-43CF-4741-8E5D-6A70E8AC65C2}" type="presParOf" srcId="{DE9D5940-2E3F-474C-AB5A-B1CE47413BE1}" destId="{6F8525BE-29D9-4A1F-A7E9-A1C9109A5A00}" srcOrd="0" destOrd="0" presId="urn:microsoft.com/office/officeart/2009/3/layout/HorizontalOrganizationChart"/>
    <dgm:cxn modelId="{502A7892-0253-4CA6-BC3E-0B0EDD128C84}" type="presParOf" srcId="{6F8525BE-29D9-4A1F-A7E9-A1C9109A5A00}" destId="{8B620284-A71F-41D5-AF99-3F99CA14BC61}" srcOrd="0" destOrd="0" presId="urn:microsoft.com/office/officeart/2009/3/layout/HorizontalOrganizationChart"/>
    <dgm:cxn modelId="{83DC84D1-1136-44A2-B4BC-4E6E0D649DA3}" type="presParOf" srcId="{8B620284-A71F-41D5-AF99-3F99CA14BC61}" destId="{1D2A8940-FC78-45F4-808A-2FAB5C1D179D}" srcOrd="0" destOrd="0" presId="urn:microsoft.com/office/officeart/2009/3/layout/HorizontalOrganizationChart"/>
    <dgm:cxn modelId="{845E1BB7-1547-469D-9F35-68044C4B280F}" type="presParOf" srcId="{8B620284-A71F-41D5-AF99-3F99CA14BC61}" destId="{EAFA5581-FD11-40DD-A094-272879A58AE5}" srcOrd="1" destOrd="0" presId="urn:microsoft.com/office/officeart/2009/3/layout/HorizontalOrganizationChart"/>
    <dgm:cxn modelId="{61ED09F6-2B7B-4979-85AA-F34218B668E0}" type="presParOf" srcId="{6F8525BE-29D9-4A1F-A7E9-A1C9109A5A00}" destId="{086D526B-1FA9-4826-81ED-615C8995797D}" srcOrd="1" destOrd="0" presId="urn:microsoft.com/office/officeart/2009/3/layout/HorizontalOrganizationChart"/>
    <dgm:cxn modelId="{F6F73D8C-ABD9-46D0-A49C-AC7D23000136}" type="presParOf" srcId="{086D526B-1FA9-4826-81ED-615C8995797D}" destId="{3BF4AACC-6703-44B5-BEA6-E8B23565FFAD}" srcOrd="0" destOrd="0" presId="urn:microsoft.com/office/officeart/2009/3/layout/HorizontalOrganizationChart"/>
    <dgm:cxn modelId="{B96B6833-1EA5-4492-AB89-70F2FAF05501}" type="presParOf" srcId="{086D526B-1FA9-4826-81ED-615C8995797D}" destId="{5E4B04AD-FCEA-41DD-9601-CCB25AA8A393}" srcOrd="1" destOrd="0" presId="urn:microsoft.com/office/officeart/2009/3/layout/HorizontalOrganizationChart"/>
    <dgm:cxn modelId="{0F63BBA1-2E39-4FD6-86A3-25F90232A263}" type="presParOf" srcId="{5E4B04AD-FCEA-41DD-9601-CCB25AA8A393}" destId="{E59AD300-907C-4CD5-98B8-59E11FC68968}" srcOrd="0" destOrd="0" presId="urn:microsoft.com/office/officeart/2009/3/layout/HorizontalOrganizationChart"/>
    <dgm:cxn modelId="{A0DB27E0-D949-48B9-8404-8EB11C3382FF}" type="presParOf" srcId="{E59AD300-907C-4CD5-98B8-59E11FC68968}" destId="{3F265EC6-C808-4B23-834E-7159B0B19CB7}" srcOrd="0" destOrd="0" presId="urn:microsoft.com/office/officeart/2009/3/layout/HorizontalOrganizationChart"/>
    <dgm:cxn modelId="{E8E4781A-BBF1-41EF-86EF-1E8C80B7A21B}" type="presParOf" srcId="{E59AD300-907C-4CD5-98B8-59E11FC68968}" destId="{DAA69410-9F32-45D5-9DB6-38E74CA77686}" srcOrd="1" destOrd="0" presId="urn:microsoft.com/office/officeart/2009/3/layout/HorizontalOrganizationChart"/>
    <dgm:cxn modelId="{18DD945A-FF3B-4C22-85E1-81C66E25E08C}" type="presParOf" srcId="{5E4B04AD-FCEA-41DD-9601-CCB25AA8A393}" destId="{404001D3-D3B7-4578-B6E3-5A74D476E866}" srcOrd="1" destOrd="0" presId="urn:microsoft.com/office/officeart/2009/3/layout/HorizontalOrganizationChart"/>
    <dgm:cxn modelId="{EC2DD837-BD52-4B79-965C-BDA8DCD4E5F7}" type="presParOf" srcId="{404001D3-D3B7-4578-B6E3-5A74D476E866}" destId="{903A33C8-77D0-4634-804A-0AD79724F44F}" srcOrd="0" destOrd="0" presId="urn:microsoft.com/office/officeart/2009/3/layout/HorizontalOrganizationChart"/>
    <dgm:cxn modelId="{B127C909-8D67-4BD0-B71A-CB8EC9CEF8EB}" type="presParOf" srcId="{404001D3-D3B7-4578-B6E3-5A74D476E866}" destId="{DDD4D627-F3CA-40BA-A4DE-5CA293934DC9}" srcOrd="1" destOrd="0" presId="urn:microsoft.com/office/officeart/2009/3/layout/HorizontalOrganizationChart"/>
    <dgm:cxn modelId="{4D8503F1-659C-4970-AA54-95A17AA4818C}" type="presParOf" srcId="{DDD4D627-F3CA-40BA-A4DE-5CA293934DC9}" destId="{3834FE89-9806-4AC8-B4E0-7C8FF1566493}" srcOrd="0" destOrd="0" presId="urn:microsoft.com/office/officeart/2009/3/layout/HorizontalOrganizationChart"/>
    <dgm:cxn modelId="{617AD7BA-304F-4B5A-A73C-7B9F8AE2CA44}" type="presParOf" srcId="{3834FE89-9806-4AC8-B4E0-7C8FF1566493}" destId="{7DD9B30A-E7C9-401D-B17F-6D98A72330AB}" srcOrd="0" destOrd="0" presId="urn:microsoft.com/office/officeart/2009/3/layout/HorizontalOrganizationChart"/>
    <dgm:cxn modelId="{53D461EF-5376-426D-BBF7-8F32B566F0A3}" type="presParOf" srcId="{3834FE89-9806-4AC8-B4E0-7C8FF1566493}" destId="{0C78FB30-08A1-498B-AC26-7FC2665F2661}" srcOrd="1" destOrd="0" presId="urn:microsoft.com/office/officeart/2009/3/layout/HorizontalOrganizationChart"/>
    <dgm:cxn modelId="{00700D2C-9BAB-4318-932F-B64D0E275A69}" type="presParOf" srcId="{DDD4D627-F3CA-40BA-A4DE-5CA293934DC9}" destId="{A7332744-26DF-4F8E-BF3F-E8C110DDD6B9}" srcOrd="1" destOrd="0" presId="urn:microsoft.com/office/officeart/2009/3/layout/HorizontalOrganizationChart"/>
    <dgm:cxn modelId="{8B93AB24-733B-422D-9767-F63EF15D3785}" type="presParOf" srcId="{DDD4D627-F3CA-40BA-A4DE-5CA293934DC9}" destId="{7E457673-83FB-4D62-A6C3-4CF939FB6EA8}" srcOrd="2" destOrd="0" presId="urn:microsoft.com/office/officeart/2009/3/layout/HorizontalOrganizationChart"/>
    <dgm:cxn modelId="{47DEE723-4EB9-4126-A258-B6C37FD6BBCD}" type="presParOf" srcId="{404001D3-D3B7-4578-B6E3-5A74D476E866}" destId="{F4274EEE-10DD-4B0C-AB23-7E15322DFCD9}" srcOrd="2" destOrd="0" presId="urn:microsoft.com/office/officeart/2009/3/layout/HorizontalOrganizationChart"/>
    <dgm:cxn modelId="{05A1BCC2-CDAE-4DB2-B199-EBB4E20F9120}" type="presParOf" srcId="{404001D3-D3B7-4578-B6E3-5A74D476E866}" destId="{16ACDD13-2DC2-42F5-B741-C8842BB3D538}" srcOrd="3" destOrd="0" presId="urn:microsoft.com/office/officeart/2009/3/layout/HorizontalOrganizationChart"/>
    <dgm:cxn modelId="{C8AC79A6-B7FF-4B3D-8E5D-0F9180F1CF35}" type="presParOf" srcId="{16ACDD13-2DC2-42F5-B741-C8842BB3D538}" destId="{8D933A47-2401-450E-801F-5841BBF15E6A}" srcOrd="0" destOrd="0" presId="urn:microsoft.com/office/officeart/2009/3/layout/HorizontalOrganizationChart"/>
    <dgm:cxn modelId="{BCA5DB95-4582-4B3F-BFA9-0CF0A40CFF34}" type="presParOf" srcId="{8D933A47-2401-450E-801F-5841BBF15E6A}" destId="{8700BE62-3161-4B66-A8EA-A626F56F0CB4}" srcOrd="0" destOrd="0" presId="urn:microsoft.com/office/officeart/2009/3/layout/HorizontalOrganizationChart"/>
    <dgm:cxn modelId="{53FFB652-B30E-451B-9DCA-155D3D436FAF}" type="presParOf" srcId="{8D933A47-2401-450E-801F-5841BBF15E6A}" destId="{B29A3361-92D0-487E-836D-CC624ED454A0}" srcOrd="1" destOrd="0" presId="urn:microsoft.com/office/officeart/2009/3/layout/HorizontalOrganizationChart"/>
    <dgm:cxn modelId="{E8380397-961F-43AE-8608-4487E7723CDF}" type="presParOf" srcId="{16ACDD13-2DC2-42F5-B741-C8842BB3D538}" destId="{BD1C8C54-A02E-4107-9C7E-1A7DB9703053}" srcOrd="1" destOrd="0" presId="urn:microsoft.com/office/officeart/2009/3/layout/HorizontalOrganizationChart"/>
    <dgm:cxn modelId="{90BA9FB1-043E-45B8-950C-378A9C1D2D86}" type="presParOf" srcId="{16ACDD13-2DC2-42F5-B741-C8842BB3D538}" destId="{EA628F3D-54D5-419D-8367-627615859A98}" srcOrd="2" destOrd="0" presId="urn:microsoft.com/office/officeart/2009/3/layout/HorizontalOrganizationChart"/>
    <dgm:cxn modelId="{080BDE92-E6E1-47E0-9C3F-F6BBCC8E4633}" type="presParOf" srcId="{5E4B04AD-FCEA-41DD-9601-CCB25AA8A393}" destId="{4F042BF6-5C84-48A9-8DD9-A1A7AF18449A}" srcOrd="2" destOrd="0" presId="urn:microsoft.com/office/officeart/2009/3/layout/HorizontalOrganizationChart"/>
    <dgm:cxn modelId="{3189B510-8CA6-4E00-86B8-D5B125813055}" type="presParOf" srcId="{6F8525BE-29D9-4A1F-A7E9-A1C9109A5A00}" destId="{8AFA923D-9AEB-47B8-B5AB-6B5324F06F8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274EEE-10DD-4B0C-AB23-7E15322DFCD9}">
      <dsp:nvSpPr>
        <dsp:cNvPr id="0" name=""/>
        <dsp:cNvSpPr/>
      </dsp:nvSpPr>
      <dsp:spPr>
        <a:xfrm>
          <a:off x="3734686" y="1929074"/>
          <a:ext cx="674391" cy="4802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38715" y="0"/>
              </a:lnTo>
              <a:lnTo>
                <a:pt x="338715" y="480299"/>
              </a:lnTo>
              <a:lnTo>
                <a:pt x="674391" y="480299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3A33C8-77D0-4634-804A-0AD79724F44F}">
      <dsp:nvSpPr>
        <dsp:cNvPr id="0" name=""/>
        <dsp:cNvSpPr/>
      </dsp:nvSpPr>
      <dsp:spPr>
        <a:xfrm>
          <a:off x="3734686" y="1453096"/>
          <a:ext cx="671352" cy="475978"/>
        </a:xfrm>
        <a:custGeom>
          <a:avLst/>
          <a:gdLst/>
          <a:ahLst/>
          <a:cxnLst/>
          <a:rect l="0" t="0" r="0" b="0"/>
          <a:pathLst>
            <a:path>
              <a:moveTo>
                <a:pt x="0" y="475978"/>
              </a:moveTo>
              <a:lnTo>
                <a:pt x="335676" y="475978"/>
              </a:lnTo>
              <a:lnTo>
                <a:pt x="335676" y="0"/>
              </a:lnTo>
              <a:lnTo>
                <a:pt x="671352" y="0"/>
              </a:lnTo>
            </a:path>
          </a:pathLst>
        </a:custGeom>
        <a:noFill/>
        <a:ln w="12700" cap="flat" cmpd="sng" algn="ctr">
          <a:noFill/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F4AACC-6703-44B5-BEA6-E8B23565FFAD}">
      <dsp:nvSpPr>
        <dsp:cNvPr id="0" name=""/>
        <dsp:cNvSpPr/>
      </dsp:nvSpPr>
      <dsp:spPr>
        <a:xfrm>
          <a:off x="1533186" y="1883354"/>
          <a:ext cx="671352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71352" y="45720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2A8940-FC78-45F4-808A-2FAB5C1D179D}">
      <dsp:nvSpPr>
        <dsp:cNvPr id="0" name=""/>
        <dsp:cNvSpPr/>
      </dsp:nvSpPr>
      <dsp:spPr>
        <a:xfrm>
          <a:off x="3038" y="1662893"/>
          <a:ext cx="1530147" cy="532362"/>
        </a:xfrm>
        <a:prstGeom prst="roundRect">
          <a:avLst/>
        </a:prstGeom>
        <a:solidFill>
          <a:srgbClr val="333399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Calibri" panose="020F0502020204030204" pitchFamily="34" charset="0"/>
            </a:rPr>
            <a:t>CaO</a:t>
          </a:r>
        </a:p>
      </dsp:txBody>
      <dsp:txXfrm>
        <a:off x="29026" y="1688881"/>
        <a:ext cx="1478171" cy="480386"/>
      </dsp:txXfrm>
    </dsp:sp>
    <dsp:sp modelId="{3F265EC6-C808-4B23-834E-7159B0B19CB7}">
      <dsp:nvSpPr>
        <dsp:cNvPr id="0" name=""/>
        <dsp:cNvSpPr/>
      </dsp:nvSpPr>
      <dsp:spPr>
        <a:xfrm>
          <a:off x="2204539" y="1662893"/>
          <a:ext cx="1530147" cy="532362"/>
        </a:xfrm>
        <a:prstGeom prst="roundRect">
          <a:avLst/>
        </a:prstGeom>
        <a:solidFill>
          <a:srgbClr val="333399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 err="1">
              <a:latin typeface="Calibri" panose="020F0502020204030204" pitchFamily="34" charset="0"/>
            </a:rPr>
            <a:t>Ca</a:t>
          </a:r>
          <a:r>
            <a:rPr lang="de-DE" sz="1600" kern="1200" dirty="0">
              <a:latin typeface="Calibri" panose="020F0502020204030204" pitchFamily="34" charset="0"/>
            </a:rPr>
            <a:t>(OH)</a:t>
          </a:r>
          <a:r>
            <a:rPr lang="de-DE" sz="1600" kern="1200" baseline="-25000" dirty="0">
              <a:latin typeface="Calibri" panose="020F0502020204030204" pitchFamily="34" charset="0"/>
            </a:rPr>
            <a:t>2</a:t>
          </a:r>
        </a:p>
      </dsp:txBody>
      <dsp:txXfrm>
        <a:off x="2230527" y="1688881"/>
        <a:ext cx="1478171" cy="480386"/>
      </dsp:txXfrm>
    </dsp:sp>
    <dsp:sp modelId="{7DD9B30A-E7C9-401D-B17F-6D98A72330AB}">
      <dsp:nvSpPr>
        <dsp:cNvPr id="0" name=""/>
        <dsp:cNvSpPr/>
      </dsp:nvSpPr>
      <dsp:spPr>
        <a:xfrm>
          <a:off x="4406039" y="1186914"/>
          <a:ext cx="1530147" cy="532362"/>
        </a:xfrm>
        <a:prstGeom prst="roundRect">
          <a:avLst/>
        </a:prstGeom>
        <a:solidFill>
          <a:srgbClr val="333399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Calibri" panose="020F0502020204030204" pitchFamily="34" charset="0"/>
            </a:rPr>
            <a:t>CSH</a:t>
          </a:r>
        </a:p>
      </dsp:txBody>
      <dsp:txXfrm>
        <a:off x="4432027" y="1212902"/>
        <a:ext cx="1478171" cy="480386"/>
      </dsp:txXfrm>
    </dsp:sp>
    <dsp:sp modelId="{8700BE62-3161-4B66-A8EA-A626F56F0CB4}">
      <dsp:nvSpPr>
        <dsp:cNvPr id="0" name=""/>
        <dsp:cNvSpPr/>
      </dsp:nvSpPr>
      <dsp:spPr>
        <a:xfrm>
          <a:off x="4409078" y="2143193"/>
          <a:ext cx="1530147" cy="532362"/>
        </a:xfrm>
        <a:prstGeom prst="roundRect">
          <a:avLst/>
        </a:prstGeom>
        <a:solidFill>
          <a:srgbClr val="333399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latin typeface="Calibri" panose="020F0502020204030204" pitchFamily="34" charset="0"/>
            </a:rPr>
            <a:t>CaCO</a:t>
          </a:r>
          <a:r>
            <a:rPr lang="de-DE" sz="1600" kern="1200" baseline="-25000" dirty="0">
              <a:latin typeface="Calibri" panose="020F0502020204030204" pitchFamily="34" charset="0"/>
            </a:rPr>
            <a:t>3</a:t>
          </a:r>
        </a:p>
      </dsp:txBody>
      <dsp:txXfrm>
        <a:off x="4435066" y="2169181"/>
        <a:ext cx="1478171" cy="4803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2128</cdr:x>
      <cdr:y>0.26855</cdr:y>
    </cdr:from>
    <cdr:to>
      <cdr:x>0.41796</cdr:x>
      <cdr:y>0.35515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944340" y="1116533"/>
          <a:ext cx="1728192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2000" b="1" dirty="0"/>
            <a:t>Carbonation</a:t>
          </a:r>
        </a:p>
      </cdr:txBody>
    </cdr:sp>
  </cdr:relSizeAnchor>
  <cdr:relSizeAnchor xmlns:cdr="http://schemas.openxmlformats.org/drawingml/2006/chartDrawing">
    <cdr:from>
      <cdr:x>0.54088</cdr:x>
      <cdr:y>0.12999</cdr:y>
    </cdr:from>
    <cdr:to>
      <cdr:x>0.68839</cdr:x>
      <cdr:y>0.27377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4752652" y="540469"/>
          <a:ext cx="1296144" cy="59777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2000" b="1" dirty="0"/>
            <a:t>Available lime</a:t>
          </a:r>
        </a:p>
      </cdr:txBody>
    </cdr:sp>
  </cdr:relSizeAnchor>
  <cdr:relSizeAnchor xmlns:cdr="http://schemas.openxmlformats.org/drawingml/2006/chartDrawing">
    <cdr:from>
      <cdr:x>0.56547</cdr:x>
      <cdr:y>0.4937</cdr:y>
    </cdr:from>
    <cdr:to>
      <cdr:x>0.74576</cdr:x>
      <cdr:y>0.64957</cdr:y>
    </cdr:to>
    <cdr:sp macro="" textlink="">
      <cdr:nvSpPr>
        <cdr:cNvPr id="4" name="Textfeld 1"/>
        <cdr:cNvSpPr txBox="1"/>
      </cdr:nvSpPr>
      <cdr:spPr>
        <a:xfrm xmlns:a="http://schemas.openxmlformats.org/drawingml/2006/main">
          <a:off x="4968676" y="2052637"/>
          <a:ext cx="1584176" cy="6480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2000" b="1" dirty="0"/>
            <a:t>Pozzolanic reaction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fr-BE" dirty="0">
              <a:solidFill>
                <a:schemeClr val="bg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A1056D4-590D-495E-83CC-9E6EBE40A21F}" type="datetimeFigureOut">
              <a:rPr lang="fr-BE" smtClean="0">
                <a:solidFill>
                  <a:schemeClr val="bg2"/>
                </a:solidFill>
              </a:rPr>
              <a:t>05-12-22</a:t>
            </a:fld>
            <a:endParaRPr lang="fr-BE">
              <a:solidFill>
                <a:schemeClr val="bg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fr-BE">
              <a:solidFill>
                <a:schemeClr val="bg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69E4941-1411-4DD2-B066-B4990480180E}" type="slidenum">
              <a:rPr lang="fr-BE" smtClean="0">
                <a:solidFill>
                  <a:schemeClr val="bg2"/>
                </a:solidFill>
              </a:rPr>
              <a:t>‹#›</a:t>
            </a:fld>
            <a:endParaRPr lang="fr-BE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0427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94304EE-C2D7-4883-97D7-1F07E462916A}" type="datetimeFigureOut">
              <a:rPr lang="fr-BE" smtClean="0"/>
              <a:t>05-12-22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fr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D00B57D-D9B0-4709-AB06-632DD86B6C6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592697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0B57D-D9B0-4709-AB06-632DD86B6C63}" type="slidenum">
              <a:rPr lang="fr-BE" smtClean="0"/>
              <a:t>1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750524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047"/>
            <a:ext cx="12192000" cy="6864094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auto">
          <a:xfrm>
            <a:off x="3454400" y="820058"/>
            <a:ext cx="5283200" cy="4996542"/>
          </a:xfrm>
          <a:prstGeom prst="rect">
            <a:avLst/>
          </a:prstGeom>
          <a:gradFill>
            <a:gsLst>
              <a:gs pos="100000">
                <a:schemeClr val="tx1"/>
              </a:gs>
              <a:gs pos="5000">
                <a:schemeClr val="tx2">
                  <a:alpha val="79000"/>
                </a:schemeClr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BE" sz="2400" dirty="0">
              <a:solidFill>
                <a:srgbClr val="005191"/>
              </a:solidFill>
              <a:latin typeface="Tahoma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82" b="16950"/>
          <a:stretch/>
        </p:blipFill>
        <p:spPr>
          <a:xfrm>
            <a:off x="4825063" y="1199866"/>
            <a:ext cx="2541874" cy="1340134"/>
          </a:xfrm>
          <a:prstGeom prst="rect">
            <a:avLst/>
          </a:prstGeom>
        </p:spPr>
      </p:pic>
      <p:sp>
        <p:nvSpPr>
          <p:cNvPr id="1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3741467" y="4748171"/>
            <a:ext cx="4720361" cy="72371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741467" y="2839074"/>
            <a:ext cx="4720361" cy="1674871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600" b="1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65492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Right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533400"/>
            <a:ext cx="5734050" cy="57912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689716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3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1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3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1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1098136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2252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Right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533400"/>
            <a:ext cx="5734050" cy="57912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689716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3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1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3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1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1098136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757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Left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5734050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37195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Left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5734050" cy="68580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93224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Left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573405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03311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Left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5734050" cy="68580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8863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Right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0"/>
            <a:ext cx="5734050" cy="68580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09138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Right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0"/>
            <a:ext cx="5734050" cy="68580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2288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Right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0"/>
            <a:ext cx="573405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95703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 Right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0"/>
            <a:ext cx="5734050" cy="68580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580571"/>
            <a:ext cx="4433887" cy="5805715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71465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6210" y="1203734"/>
            <a:ext cx="10540590" cy="38624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52322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86211" y="1924050"/>
            <a:ext cx="10540590" cy="42862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>
                <a:solidFill>
                  <a:schemeClr val="accent4"/>
                </a:solidFill>
              </a:defRPr>
            </a:lvl1pPr>
            <a:lvl2pPr marL="230188" indent="0">
              <a:buFont typeface="Wingdings" panose="05000000000000000000" pitchFamily="2" charset="2"/>
              <a:buNone/>
              <a:defRPr sz="2000">
                <a:solidFill>
                  <a:schemeClr val="accent2"/>
                </a:solidFill>
              </a:defRPr>
            </a:lvl2pPr>
            <a:lvl3pPr marL="461963" indent="0">
              <a:buFont typeface="Wingdings" panose="05000000000000000000" pitchFamily="2" charset="2"/>
              <a:buNone/>
              <a:defRPr sz="1800">
                <a:solidFill>
                  <a:schemeClr val="accent2"/>
                </a:solidFill>
              </a:defRPr>
            </a:lvl3pPr>
            <a:lvl4pPr marL="684212" indent="0">
              <a:buFont typeface="Wingdings" panose="05000000000000000000" pitchFamily="2" charset="2"/>
              <a:buNone/>
              <a:defRPr sz="1600">
                <a:solidFill>
                  <a:schemeClr val="accent2"/>
                </a:solidFill>
              </a:defRPr>
            </a:lvl4pPr>
            <a:lvl5pPr marL="914400" indent="0">
              <a:buFont typeface="Wingdings" panose="05000000000000000000" pitchFamily="2" charset="2"/>
              <a:buNone/>
              <a:defRPr sz="16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>
            <a:normAutofit/>
          </a:bodyPr>
          <a:lstStyle>
            <a:lvl1pPr marL="0" indent="0" algn="l">
              <a:buNone/>
              <a:defRPr sz="1600" b="0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71700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Up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12192000" cy="2894089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580572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2321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Up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12192000" cy="2894089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580572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92584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Up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12192000" cy="2894089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580572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0203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Up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0"/>
            <a:ext cx="12192000" cy="2894089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580572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84222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Down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3963911"/>
            <a:ext cx="12192000" cy="2894089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4544483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44429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Down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3963911"/>
            <a:ext cx="12192000" cy="2894089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4544483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2802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Down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3963911"/>
            <a:ext cx="12192000" cy="2894089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4544483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210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C Down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3963911"/>
            <a:ext cx="12192000" cy="2894089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52009" y="4544483"/>
            <a:ext cx="10887982" cy="182879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35083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cutive committ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B13D0D67-6C58-4A66-95BF-435949A5A73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>
            <a:normAutofit/>
          </a:bodyPr>
          <a:lstStyle>
            <a:lvl1pPr marL="0" indent="0" algn="l">
              <a:buNone/>
              <a:defRPr sz="1600" b="0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  <a:endParaRPr lang="fr-B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85A71A-3293-BBBE-7E21-0CD3693AFD2F}"/>
              </a:ext>
            </a:extLst>
          </p:cNvPr>
          <p:cNvSpPr/>
          <p:nvPr userDrawn="1"/>
        </p:nvSpPr>
        <p:spPr>
          <a:xfrm>
            <a:off x="-1" y="368563"/>
            <a:ext cx="12192001" cy="6489437"/>
          </a:xfrm>
          <a:prstGeom prst="rect">
            <a:avLst/>
          </a:prstGeom>
          <a:gradFill>
            <a:gsLst>
              <a:gs pos="100000">
                <a:schemeClr val="tx2"/>
              </a:gs>
              <a:gs pos="37000">
                <a:schemeClr val="tx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id-ID" sz="240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6" name="TextBox 33">
            <a:extLst>
              <a:ext uri="{FF2B5EF4-FFF2-40B4-BE49-F238E27FC236}">
                <a16:creationId xmlns:a16="http://schemas.microsoft.com/office/drawing/2014/main" id="{360629FA-22A3-294C-BB34-0364D7495904}"/>
              </a:ext>
            </a:extLst>
          </p:cNvPr>
          <p:cNvSpPr txBox="1"/>
          <p:nvPr userDrawn="1"/>
        </p:nvSpPr>
        <p:spPr>
          <a:xfrm>
            <a:off x="2552974" y="1222825"/>
            <a:ext cx="7086052" cy="614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EXECUTIVE COMMITTEE</a:t>
            </a:r>
          </a:p>
        </p:txBody>
      </p:sp>
      <p:pic>
        <p:nvPicPr>
          <p:cNvPr id="7" name="Picture 41">
            <a:extLst>
              <a:ext uri="{FF2B5EF4-FFF2-40B4-BE49-F238E27FC236}">
                <a16:creationId xmlns:a16="http://schemas.microsoft.com/office/drawing/2014/main" id="{2333B9A9-4BC5-B0DE-3180-610B36EB78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82" b="16950"/>
          <a:stretch/>
        </p:blipFill>
        <p:spPr>
          <a:xfrm>
            <a:off x="11301144" y="6379368"/>
            <a:ext cx="822018" cy="433388"/>
          </a:xfrm>
          <a:prstGeom prst="rect">
            <a:avLst/>
          </a:prstGeom>
        </p:spPr>
      </p:pic>
      <p:sp>
        <p:nvSpPr>
          <p:cNvPr id="8" name="TextBox 35">
            <a:extLst>
              <a:ext uri="{FF2B5EF4-FFF2-40B4-BE49-F238E27FC236}">
                <a16:creationId xmlns:a16="http://schemas.microsoft.com/office/drawing/2014/main" id="{E77572D7-CA80-F32A-B478-F0AE2022FDA0}"/>
              </a:ext>
            </a:extLst>
          </p:cNvPr>
          <p:cNvSpPr txBox="1"/>
          <p:nvPr userDrawn="1"/>
        </p:nvSpPr>
        <p:spPr>
          <a:xfrm>
            <a:off x="5257404" y="4681133"/>
            <a:ext cx="1703027" cy="45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Rodolphe COLLINET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Group CEO</a:t>
            </a:r>
            <a:endParaRPr lang="en-US" sz="9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9" name="TextBox 36">
            <a:extLst>
              <a:ext uri="{FF2B5EF4-FFF2-40B4-BE49-F238E27FC236}">
                <a16:creationId xmlns:a16="http://schemas.microsoft.com/office/drawing/2014/main" id="{E9F14E93-B131-9784-2E78-D903D0E0031E}"/>
              </a:ext>
            </a:extLst>
          </p:cNvPr>
          <p:cNvSpPr txBox="1"/>
          <p:nvPr userDrawn="1"/>
        </p:nvSpPr>
        <p:spPr>
          <a:xfrm>
            <a:off x="2097826" y="4681133"/>
            <a:ext cx="1304052" cy="4373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Yves WILLEMS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EO Americas</a:t>
            </a:r>
          </a:p>
        </p:txBody>
      </p:sp>
      <p:sp>
        <p:nvSpPr>
          <p:cNvPr id="10" name="TextBox 37">
            <a:extLst>
              <a:ext uri="{FF2B5EF4-FFF2-40B4-BE49-F238E27FC236}">
                <a16:creationId xmlns:a16="http://schemas.microsoft.com/office/drawing/2014/main" id="{E7C8C800-A477-E9C8-BE03-51A3BFD88369}"/>
              </a:ext>
            </a:extLst>
          </p:cNvPr>
          <p:cNvSpPr txBox="1"/>
          <p:nvPr userDrawn="1"/>
        </p:nvSpPr>
        <p:spPr>
          <a:xfrm>
            <a:off x="8423119" y="4681133"/>
            <a:ext cx="1960635" cy="45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Tim VAN DEN BOSSCHE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EO Europe</a:t>
            </a:r>
          </a:p>
        </p:txBody>
      </p:sp>
      <p:sp>
        <p:nvSpPr>
          <p:cNvPr id="11" name="TextBox 38">
            <a:extLst>
              <a:ext uri="{FF2B5EF4-FFF2-40B4-BE49-F238E27FC236}">
                <a16:creationId xmlns:a16="http://schemas.microsoft.com/office/drawing/2014/main" id="{D17A508D-EBE6-DF6B-F739-67881BA32FF1}"/>
              </a:ext>
            </a:extLst>
          </p:cNvPr>
          <p:cNvSpPr txBox="1"/>
          <p:nvPr userDrawn="1"/>
        </p:nvSpPr>
        <p:spPr>
          <a:xfrm>
            <a:off x="7104847" y="4681133"/>
            <a:ext cx="1363743" cy="45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Danielle KNOTT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Group CHRO</a:t>
            </a:r>
          </a:p>
        </p:txBody>
      </p:sp>
      <p:sp>
        <p:nvSpPr>
          <p:cNvPr id="13" name="Isosceles Triangle 41">
            <a:extLst>
              <a:ext uri="{FF2B5EF4-FFF2-40B4-BE49-F238E27FC236}">
                <a16:creationId xmlns:a16="http://schemas.microsoft.com/office/drawing/2014/main" id="{54E1B680-CEA0-A628-3607-38472C45EF0E}"/>
              </a:ext>
            </a:extLst>
          </p:cNvPr>
          <p:cNvSpPr/>
          <p:nvPr userDrawn="1"/>
        </p:nvSpPr>
        <p:spPr bwMode="auto">
          <a:xfrm flipV="1">
            <a:off x="9277412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14" name="Isosceles Triangle 42">
            <a:extLst>
              <a:ext uri="{FF2B5EF4-FFF2-40B4-BE49-F238E27FC236}">
                <a16:creationId xmlns:a16="http://schemas.microsoft.com/office/drawing/2014/main" id="{E035BBBA-228F-340F-33B3-74DB877CD8BE}"/>
              </a:ext>
            </a:extLst>
          </p:cNvPr>
          <p:cNvSpPr/>
          <p:nvPr userDrawn="1"/>
        </p:nvSpPr>
        <p:spPr bwMode="auto">
          <a:xfrm flipV="1">
            <a:off x="2600574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15" name="TextBox 45">
            <a:extLst>
              <a:ext uri="{FF2B5EF4-FFF2-40B4-BE49-F238E27FC236}">
                <a16:creationId xmlns:a16="http://schemas.microsoft.com/office/drawing/2014/main" id="{4AE94945-25D5-4135-C357-9467CAD24AA0}"/>
              </a:ext>
            </a:extLst>
          </p:cNvPr>
          <p:cNvSpPr txBox="1"/>
          <p:nvPr userDrawn="1"/>
        </p:nvSpPr>
        <p:spPr>
          <a:xfrm>
            <a:off x="3565480" y="4681133"/>
            <a:ext cx="1555376" cy="4373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Barbara JONNART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Group CFO</a:t>
            </a:r>
          </a:p>
        </p:txBody>
      </p:sp>
      <p:sp>
        <p:nvSpPr>
          <p:cNvPr id="17" name="Isosceles Triangle 46">
            <a:extLst>
              <a:ext uri="{FF2B5EF4-FFF2-40B4-BE49-F238E27FC236}">
                <a16:creationId xmlns:a16="http://schemas.microsoft.com/office/drawing/2014/main" id="{2DC99699-D7BB-1904-C068-3596CCE07C44}"/>
              </a:ext>
            </a:extLst>
          </p:cNvPr>
          <p:cNvSpPr/>
          <p:nvPr userDrawn="1"/>
        </p:nvSpPr>
        <p:spPr bwMode="auto">
          <a:xfrm flipV="1">
            <a:off x="7637440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18" name="TextBox 47">
            <a:extLst>
              <a:ext uri="{FF2B5EF4-FFF2-40B4-BE49-F238E27FC236}">
                <a16:creationId xmlns:a16="http://schemas.microsoft.com/office/drawing/2014/main" id="{F39DF101-F2AE-4977-4996-9750E6AB3D02}"/>
              </a:ext>
            </a:extLst>
          </p:cNvPr>
          <p:cNvSpPr txBox="1"/>
          <p:nvPr userDrawn="1"/>
        </p:nvSpPr>
        <p:spPr>
          <a:xfrm>
            <a:off x="10495423" y="4681133"/>
            <a:ext cx="1156401" cy="43730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Jack FAHLER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OO Americas</a:t>
            </a:r>
          </a:p>
        </p:txBody>
      </p:sp>
      <p:sp>
        <p:nvSpPr>
          <p:cNvPr id="19" name="Isosceles Triangle 48">
            <a:extLst>
              <a:ext uri="{FF2B5EF4-FFF2-40B4-BE49-F238E27FC236}">
                <a16:creationId xmlns:a16="http://schemas.microsoft.com/office/drawing/2014/main" id="{838D7A16-BD2B-68F9-A9AD-386CFCD3AD0E}"/>
              </a:ext>
            </a:extLst>
          </p:cNvPr>
          <p:cNvSpPr/>
          <p:nvPr userDrawn="1"/>
        </p:nvSpPr>
        <p:spPr bwMode="auto">
          <a:xfrm flipV="1">
            <a:off x="10924346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21" name="TextBox 51">
            <a:extLst>
              <a:ext uri="{FF2B5EF4-FFF2-40B4-BE49-F238E27FC236}">
                <a16:creationId xmlns:a16="http://schemas.microsoft.com/office/drawing/2014/main" id="{05700EBC-B7F6-BCAC-8291-B81B7B7A4BD0}"/>
              </a:ext>
            </a:extLst>
          </p:cNvPr>
          <p:cNvSpPr txBox="1"/>
          <p:nvPr userDrawn="1"/>
        </p:nvSpPr>
        <p:spPr>
          <a:xfrm>
            <a:off x="347563" y="4681133"/>
            <a:ext cx="1444627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Ilse KEN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hief Carbon Officer</a:t>
            </a:r>
          </a:p>
          <a:p>
            <a:pPr algn="ctr"/>
            <a:r>
              <a:rPr lang="en-US" sz="11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CEO TECforLime </a:t>
            </a:r>
          </a:p>
        </p:txBody>
      </p:sp>
      <p:sp>
        <p:nvSpPr>
          <p:cNvPr id="22" name="Isosceles Triangle 52">
            <a:extLst>
              <a:ext uri="{FF2B5EF4-FFF2-40B4-BE49-F238E27FC236}">
                <a16:creationId xmlns:a16="http://schemas.microsoft.com/office/drawing/2014/main" id="{9EF31FCC-42AD-2BA7-D6B3-E35C36F7E634}"/>
              </a:ext>
            </a:extLst>
          </p:cNvPr>
          <p:cNvSpPr/>
          <p:nvPr userDrawn="1"/>
        </p:nvSpPr>
        <p:spPr bwMode="auto">
          <a:xfrm flipV="1">
            <a:off x="920597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sp>
        <p:nvSpPr>
          <p:cNvPr id="23" name="Isosceles Triangle 40">
            <a:extLst>
              <a:ext uri="{FF2B5EF4-FFF2-40B4-BE49-F238E27FC236}">
                <a16:creationId xmlns:a16="http://schemas.microsoft.com/office/drawing/2014/main" id="{FEE155B7-8E53-1004-34D6-12B5D22BB0A7}"/>
              </a:ext>
            </a:extLst>
          </p:cNvPr>
          <p:cNvSpPr/>
          <p:nvPr userDrawn="1"/>
        </p:nvSpPr>
        <p:spPr bwMode="auto">
          <a:xfrm flipV="1">
            <a:off x="5959639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grpSp>
        <p:nvGrpSpPr>
          <p:cNvPr id="24" name="Groupe 23">
            <a:extLst>
              <a:ext uri="{FF2B5EF4-FFF2-40B4-BE49-F238E27FC236}">
                <a16:creationId xmlns:a16="http://schemas.microsoft.com/office/drawing/2014/main" id="{7630B3CD-1CB1-311F-3784-F5E47D51747A}"/>
              </a:ext>
            </a:extLst>
          </p:cNvPr>
          <p:cNvGrpSpPr/>
          <p:nvPr userDrawn="1"/>
        </p:nvGrpSpPr>
        <p:grpSpPr>
          <a:xfrm>
            <a:off x="5300309" y="2396412"/>
            <a:ext cx="1548466" cy="2009956"/>
            <a:chOff x="4986059" y="1520886"/>
            <a:chExt cx="1548466" cy="200995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8842A7AF-0F6A-578F-7372-A337001B0BCC}"/>
                </a:ext>
              </a:extLst>
            </p:cNvPr>
            <p:cNvSpPr/>
            <p:nvPr userDrawn="1"/>
          </p:nvSpPr>
          <p:spPr>
            <a:xfrm>
              <a:off x="4986059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26" name="Picture 53" descr="A group of people posing for a photo&#10;&#10;Description automatically generated with medium confidence">
              <a:extLst>
                <a:ext uri="{FF2B5EF4-FFF2-40B4-BE49-F238E27FC236}">
                  <a16:creationId xmlns:a16="http://schemas.microsoft.com/office/drawing/2014/main" id="{CE3130AF-DC75-3183-88B8-28E0F13C84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86316" y="1520886"/>
              <a:ext cx="1548209" cy="2009956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66AB38A4-117D-62E1-53AD-D50B338E7FD0}"/>
              </a:ext>
            </a:extLst>
          </p:cNvPr>
          <p:cNvGrpSpPr/>
          <p:nvPr userDrawn="1"/>
        </p:nvGrpSpPr>
        <p:grpSpPr>
          <a:xfrm>
            <a:off x="6985934" y="2396412"/>
            <a:ext cx="1548209" cy="2009956"/>
            <a:chOff x="8323730" y="1514056"/>
            <a:chExt cx="1548209" cy="200995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AC5D637-74E3-5215-3F58-D569272BCDA3}"/>
                </a:ext>
              </a:extLst>
            </p:cNvPr>
            <p:cNvSpPr/>
            <p:nvPr userDrawn="1"/>
          </p:nvSpPr>
          <p:spPr>
            <a:xfrm>
              <a:off x="8323730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43" name="Picture 53" descr="A group of people posing for a photo&#10;&#10;Description automatically generated with medium confidence">
              <a:extLst>
                <a:ext uri="{FF2B5EF4-FFF2-40B4-BE49-F238E27FC236}">
                  <a16:creationId xmlns:a16="http://schemas.microsoft.com/office/drawing/2014/main" id="{F4848857-5F4A-6569-85FF-0F070373824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17603" y="1514056"/>
              <a:ext cx="1354336" cy="2009956"/>
            </a:xfrm>
            <a:prstGeom prst="rect">
              <a:avLst/>
            </a:prstGeom>
          </p:spPr>
        </p:pic>
      </p:grpSp>
      <p:grpSp>
        <p:nvGrpSpPr>
          <p:cNvPr id="44" name="Groupe 43">
            <a:extLst>
              <a:ext uri="{FF2B5EF4-FFF2-40B4-BE49-F238E27FC236}">
                <a16:creationId xmlns:a16="http://schemas.microsoft.com/office/drawing/2014/main" id="{505257AC-6CD2-3B2F-6B09-D9D5FB53F709}"/>
              </a:ext>
            </a:extLst>
          </p:cNvPr>
          <p:cNvGrpSpPr/>
          <p:nvPr userDrawn="1"/>
        </p:nvGrpSpPr>
        <p:grpSpPr>
          <a:xfrm>
            <a:off x="244075" y="2403242"/>
            <a:ext cx="1548209" cy="2003126"/>
            <a:chOff x="40251" y="1520886"/>
            <a:chExt cx="1548209" cy="2003126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E5B50E7-AD5D-7317-9B13-9DBF492C5E93}"/>
                </a:ext>
              </a:extLst>
            </p:cNvPr>
            <p:cNvSpPr/>
            <p:nvPr userDrawn="1"/>
          </p:nvSpPr>
          <p:spPr>
            <a:xfrm>
              <a:off x="40251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46" name="Image 45">
              <a:extLst>
                <a:ext uri="{FF2B5EF4-FFF2-40B4-BE49-F238E27FC236}">
                  <a16:creationId xmlns:a16="http://schemas.microsoft.com/office/drawing/2014/main" id="{83C0C6F3-E666-3E67-374B-B19E745FBA6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251" y="1555051"/>
              <a:ext cx="1490657" cy="1968961"/>
            </a:xfrm>
            <a:prstGeom prst="rect">
              <a:avLst/>
            </a:prstGeom>
          </p:spPr>
        </p:pic>
      </p:grpSp>
      <p:sp>
        <p:nvSpPr>
          <p:cNvPr id="47" name="Isosceles Triangle 39">
            <a:extLst>
              <a:ext uri="{FF2B5EF4-FFF2-40B4-BE49-F238E27FC236}">
                <a16:creationId xmlns:a16="http://schemas.microsoft.com/office/drawing/2014/main" id="{2480EEE9-061C-1A74-706D-AB173809443C}"/>
              </a:ext>
            </a:extLst>
          </p:cNvPr>
          <p:cNvSpPr/>
          <p:nvPr userDrawn="1"/>
        </p:nvSpPr>
        <p:spPr bwMode="auto">
          <a:xfrm flipV="1">
            <a:off x="4193889" y="4569609"/>
            <a:ext cx="298557" cy="95338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BE" sz="32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ahoma" pitchFamily="34" charset="0"/>
            </a:endParaRPr>
          </a:p>
        </p:txBody>
      </p:sp>
      <p:grpSp>
        <p:nvGrpSpPr>
          <p:cNvPr id="48" name="Groupe 47">
            <a:extLst>
              <a:ext uri="{FF2B5EF4-FFF2-40B4-BE49-F238E27FC236}">
                <a16:creationId xmlns:a16="http://schemas.microsoft.com/office/drawing/2014/main" id="{30896D0D-1340-4497-8492-0808F9F3BCA4}"/>
              </a:ext>
            </a:extLst>
          </p:cNvPr>
          <p:cNvGrpSpPr/>
          <p:nvPr userDrawn="1"/>
        </p:nvGrpSpPr>
        <p:grpSpPr>
          <a:xfrm>
            <a:off x="1929443" y="2396412"/>
            <a:ext cx="1548338" cy="2009956"/>
            <a:chOff x="3281081" y="1514056"/>
            <a:chExt cx="1548338" cy="2009956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CF8F004-D6B6-9945-96E6-D7B629A5FAD4}"/>
                </a:ext>
              </a:extLst>
            </p:cNvPr>
            <p:cNvSpPr/>
            <p:nvPr userDrawn="1"/>
          </p:nvSpPr>
          <p:spPr>
            <a:xfrm>
              <a:off x="3281081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50" name="Picture 53" descr="A group of people posing for a photo&#10;&#10;Description automatically generated with medium confidence">
              <a:extLst>
                <a:ext uri="{FF2B5EF4-FFF2-40B4-BE49-F238E27FC236}">
                  <a16:creationId xmlns:a16="http://schemas.microsoft.com/office/drawing/2014/main" id="{3564BED5-EC39-6B69-0934-3CD1E72B72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59893" y="1514056"/>
              <a:ext cx="1369526" cy="2009956"/>
            </a:xfrm>
            <a:prstGeom prst="rect">
              <a:avLst/>
            </a:prstGeom>
          </p:spPr>
        </p:pic>
      </p:grpSp>
      <p:grpSp>
        <p:nvGrpSpPr>
          <p:cNvPr id="51" name="Groupe 50">
            <a:extLst>
              <a:ext uri="{FF2B5EF4-FFF2-40B4-BE49-F238E27FC236}">
                <a16:creationId xmlns:a16="http://schemas.microsoft.com/office/drawing/2014/main" id="{7458B864-7BD9-20A2-A3CE-0039AC9084EF}"/>
              </a:ext>
            </a:extLst>
          </p:cNvPr>
          <p:cNvGrpSpPr/>
          <p:nvPr userDrawn="1"/>
        </p:nvGrpSpPr>
        <p:grpSpPr>
          <a:xfrm>
            <a:off x="3614940" y="2403242"/>
            <a:ext cx="1548210" cy="2003126"/>
            <a:chOff x="1615285" y="1520886"/>
            <a:chExt cx="1548210" cy="2003126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BECE7A5-DB77-7727-8272-3E504596A886}"/>
                </a:ext>
              </a:extLst>
            </p:cNvPr>
            <p:cNvSpPr/>
            <p:nvPr userDrawn="1"/>
          </p:nvSpPr>
          <p:spPr>
            <a:xfrm>
              <a:off x="1615285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/>
            </a:p>
          </p:txBody>
        </p:sp>
        <p:pic>
          <p:nvPicPr>
            <p:cNvPr id="53" name="Image 52">
              <a:extLst>
                <a:ext uri="{FF2B5EF4-FFF2-40B4-BE49-F238E27FC236}">
                  <a16:creationId xmlns:a16="http://schemas.microsoft.com/office/drawing/2014/main" id="{0A21BF44-0422-DFFB-E379-4E53B17D1DD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15285" y="1658553"/>
              <a:ext cx="1548210" cy="1865459"/>
            </a:xfrm>
            <a:prstGeom prst="rect">
              <a:avLst/>
            </a:prstGeom>
          </p:spPr>
        </p:pic>
      </p:grpSp>
      <p:grpSp>
        <p:nvGrpSpPr>
          <p:cNvPr id="54" name="Groupe 53">
            <a:extLst>
              <a:ext uri="{FF2B5EF4-FFF2-40B4-BE49-F238E27FC236}">
                <a16:creationId xmlns:a16="http://schemas.microsoft.com/office/drawing/2014/main" id="{C0601535-C63F-3C25-9220-8FDDF375BF41}"/>
              </a:ext>
            </a:extLst>
          </p:cNvPr>
          <p:cNvGrpSpPr/>
          <p:nvPr userDrawn="1"/>
        </p:nvGrpSpPr>
        <p:grpSpPr>
          <a:xfrm>
            <a:off x="10356668" y="2396412"/>
            <a:ext cx="1548210" cy="2009956"/>
            <a:chOff x="10207390" y="1520886"/>
            <a:chExt cx="1548210" cy="2009956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83B362E-E910-F03A-79C8-5FD2CCD1EFA2}"/>
                </a:ext>
              </a:extLst>
            </p:cNvPr>
            <p:cNvSpPr/>
            <p:nvPr userDrawn="1"/>
          </p:nvSpPr>
          <p:spPr>
            <a:xfrm>
              <a:off x="10207391" y="1520886"/>
              <a:ext cx="1548209" cy="200312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BE" b="1"/>
            </a:p>
          </p:txBody>
        </p:sp>
        <p:pic>
          <p:nvPicPr>
            <p:cNvPr id="56" name="Picture 53" descr="A group of people posing for a photo&#10;&#10;Description automatically generated with medium confidence">
              <a:extLst>
                <a:ext uri="{FF2B5EF4-FFF2-40B4-BE49-F238E27FC236}">
                  <a16:creationId xmlns:a16="http://schemas.microsoft.com/office/drawing/2014/main" id="{0F6948F9-7EF0-977B-370E-611639F8D62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07391" y="1520886"/>
              <a:ext cx="1548209" cy="2009956"/>
            </a:xfrm>
            <a:prstGeom prst="rect">
              <a:avLst/>
            </a:prstGeom>
          </p:spPr>
        </p:pic>
        <p:sp>
          <p:nvSpPr>
            <p:cNvPr id="57" name="Forme libre : forme 56">
              <a:extLst>
                <a:ext uri="{FF2B5EF4-FFF2-40B4-BE49-F238E27FC236}">
                  <a16:creationId xmlns:a16="http://schemas.microsoft.com/office/drawing/2014/main" id="{1EBA05C9-F118-1D5A-7E93-CC19640D98DD}"/>
                </a:ext>
              </a:extLst>
            </p:cNvPr>
            <p:cNvSpPr/>
            <p:nvPr userDrawn="1"/>
          </p:nvSpPr>
          <p:spPr>
            <a:xfrm>
              <a:off x="10207390" y="2845594"/>
              <a:ext cx="227988" cy="685247"/>
            </a:xfrm>
            <a:custGeom>
              <a:avLst/>
              <a:gdLst>
                <a:gd name="connsiteX0" fmla="*/ 0 w 230981"/>
                <a:gd name="connsiteY0" fmla="*/ 0 h 533400"/>
                <a:gd name="connsiteX1" fmla="*/ 0 w 230981"/>
                <a:gd name="connsiteY1" fmla="*/ 533400 h 533400"/>
                <a:gd name="connsiteX2" fmla="*/ 164306 w 230981"/>
                <a:gd name="connsiteY2" fmla="*/ 533400 h 533400"/>
                <a:gd name="connsiteX3" fmla="*/ 230981 w 230981"/>
                <a:gd name="connsiteY3" fmla="*/ 350044 h 533400"/>
                <a:gd name="connsiteX4" fmla="*/ 173831 w 230981"/>
                <a:gd name="connsiteY4" fmla="*/ 185738 h 533400"/>
                <a:gd name="connsiteX5" fmla="*/ 0 w 230981"/>
                <a:gd name="connsiteY5" fmla="*/ 0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0981" h="533400">
                  <a:moveTo>
                    <a:pt x="0" y="0"/>
                  </a:moveTo>
                  <a:lnTo>
                    <a:pt x="0" y="533400"/>
                  </a:lnTo>
                  <a:lnTo>
                    <a:pt x="164306" y="533400"/>
                  </a:lnTo>
                  <a:lnTo>
                    <a:pt x="230981" y="350044"/>
                  </a:lnTo>
                  <a:lnTo>
                    <a:pt x="173831" y="1857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BE" b="1"/>
            </a:p>
          </p:txBody>
        </p:sp>
      </p:grpSp>
      <p:grpSp>
        <p:nvGrpSpPr>
          <p:cNvPr id="58" name="Groupe 57">
            <a:extLst>
              <a:ext uri="{FF2B5EF4-FFF2-40B4-BE49-F238E27FC236}">
                <a16:creationId xmlns:a16="http://schemas.microsoft.com/office/drawing/2014/main" id="{A5BD13D5-B37D-194B-AE20-BAF7E05319FD}"/>
              </a:ext>
            </a:extLst>
          </p:cNvPr>
          <p:cNvGrpSpPr/>
          <p:nvPr userDrawn="1"/>
        </p:nvGrpSpPr>
        <p:grpSpPr>
          <a:xfrm>
            <a:off x="8671302" y="2396412"/>
            <a:ext cx="1548209" cy="2009956"/>
            <a:chOff x="8671302" y="1467702"/>
            <a:chExt cx="1548209" cy="2009956"/>
          </a:xfrm>
        </p:grpSpPr>
        <p:grpSp>
          <p:nvGrpSpPr>
            <p:cNvPr id="59" name="Groupe 58">
              <a:extLst>
                <a:ext uri="{FF2B5EF4-FFF2-40B4-BE49-F238E27FC236}">
                  <a16:creationId xmlns:a16="http://schemas.microsoft.com/office/drawing/2014/main" id="{E23880B9-28C5-B3A8-A9A7-24BC1D1A3C2A}"/>
                </a:ext>
              </a:extLst>
            </p:cNvPr>
            <p:cNvGrpSpPr/>
            <p:nvPr userDrawn="1"/>
          </p:nvGrpSpPr>
          <p:grpSpPr>
            <a:xfrm>
              <a:off x="8671302" y="1467702"/>
              <a:ext cx="1548209" cy="2009956"/>
              <a:chOff x="6619283" y="1514056"/>
              <a:chExt cx="1548209" cy="2009956"/>
            </a:xfrm>
          </p:grpSpPr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5DB84560-1E8C-DD15-00F9-D8BA86493B1A}"/>
                  </a:ext>
                </a:extLst>
              </p:cNvPr>
              <p:cNvSpPr/>
              <p:nvPr userDrawn="1"/>
            </p:nvSpPr>
            <p:spPr>
              <a:xfrm>
                <a:off x="6619283" y="1520886"/>
                <a:ext cx="1548209" cy="200312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en-BE" dirty="0"/>
              </a:p>
            </p:txBody>
          </p:sp>
          <p:pic>
            <p:nvPicPr>
              <p:cNvPr id="62" name="Picture 53" descr="A group of people posing for a photo&#10;&#10;Description automatically generated with medium confidence">
                <a:extLst>
                  <a:ext uri="{FF2B5EF4-FFF2-40B4-BE49-F238E27FC236}">
                    <a16:creationId xmlns:a16="http://schemas.microsoft.com/office/drawing/2014/main" id="{082CAFCB-D293-AA8D-33ED-660273FCA6B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691294" y="1514056"/>
                <a:ext cx="1475924" cy="2009956"/>
              </a:xfrm>
              <a:prstGeom prst="rect">
                <a:avLst/>
              </a:prstGeom>
            </p:spPr>
          </p:pic>
        </p:grpSp>
        <p:sp>
          <p:nvSpPr>
            <p:cNvPr id="60" name="Forme libre : forme 59">
              <a:extLst>
                <a:ext uri="{FF2B5EF4-FFF2-40B4-BE49-F238E27FC236}">
                  <a16:creationId xmlns:a16="http://schemas.microsoft.com/office/drawing/2014/main" id="{C2018859-A907-A785-6E8D-76A5FBB96EF3}"/>
                </a:ext>
              </a:extLst>
            </p:cNvPr>
            <p:cNvSpPr/>
            <p:nvPr userDrawn="1"/>
          </p:nvSpPr>
          <p:spPr>
            <a:xfrm>
              <a:off x="8672514" y="3186112"/>
              <a:ext cx="157162" cy="291545"/>
            </a:xfrm>
            <a:custGeom>
              <a:avLst/>
              <a:gdLst>
                <a:gd name="connsiteX0" fmla="*/ 0 w 166687"/>
                <a:gd name="connsiteY0" fmla="*/ 0 h 285750"/>
                <a:gd name="connsiteX1" fmla="*/ 0 w 166687"/>
                <a:gd name="connsiteY1" fmla="*/ 285750 h 285750"/>
                <a:gd name="connsiteX2" fmla="*/ 166687 w 166687"/>
                <a:gd name="connsiteY2" fmla="*/ 285750 h 285750"/>
                <a:gd name="connsiteX3" fmla="*/ 123825 w 166687"/>
                <a:gd name="connsiteY3" fmla="*/ 114300 h 285750"/>
                <a:gd name="connsiteX4" fmla="*/ 0 w 166687"/>
                <a:gd name="connsiteY4" fmla="*/ 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687" h="285750">
                  <a:moveTo>
                    <a:pt x="0" y="0"/>
                  </a:moveTo>
                  <a:lnTo>
                    <a:pt x="0" y="285750"/>
                  </a:lnTo>
                  <a:lnTo>
                    <a:pt x="166687" y="285750"/>
                  </a:lnTo>
                  <a:lnTo>
                    <a:pt x="123825" y="1143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BE"/>
            </a:p>
          </p:txBody>
        </p:sp>
      </p:grpSp>
    </p:spTree>
    <p:extLst>
      <p:ext uri="{BB962C8B-B14F-4D97-AF65-F5344CB8AC3E}">
        <p14:creationId xmlns:p14="http://schemas.microsoft.com/office/powerpoint/2010/main" val="598382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7421" y="0"/>
            <a:ext cx="12209422" cy="6858000"/>
          </a:xfrm>
          <a:prstGeom prst="rect">
            <a:avLst/>
          </a:prstGeom>
          <a:gradFill>
            <a:gsLst>
              <a:gs pos="100000">
                <a:schemeClr val="tx2"/>
              </a:gs>
              <a:gs pos="37000">
                <a:schemeClr val="tx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id-ID" sz="240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4095750" y="2815451"/>
            <a:ext cx="497001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200" dirty="0">
                <a:solidFill>
                  <a:srgbClr val="FFFFFF"/>
                </a:solidFill>
                <a:latin typeface="DIN Offc Medium" panose="020B0604020101020102" pitchFamily="34" charset="0"/>
              </a:rPr>
              <a:t>CARMEUSE</a:t>
            </a:r>
            <a:endParaRPr lang="id-ID" sz="7200" dirty="0">
              <a:solidFill>
                <a:srgbClr val="FFFFFF"/>
              </a:solidFill>
              <a:latin typeface="DIN Offc Medium" panose="020B0604020101020102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4149090" y="3900735"/>
            <a:ext cx="30253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FFFF"/>
                </a:solidFill>
                <a:latin typeface="DIN Offc" panose="020B0504020101020102" pitchFamily="34" charset="0"/>
              </a:rPr>
              <a:t>IMPACTING</a:t>
            </a:r>
            <a:r>
              <a:rPr lang="en-US" dirty="0">
                <a:solidFill>
                  <a:srgbClr val="FFFFFF"/>
                </a:solidFill>
                <a:latin typeface="DIN Offc" panose="020B0504020101020102" pitchFamily="34" charset="0"/>
              </a:rPr>
              <a:t> EVERYDAY</a:t>
            </a:r>
            <a:r>
              <a:rPr lang="en-US" baseline="0" dirty="0">
                <a:solidFill>
                  <a:srgbClr val="FFFFFF"/>
                </a:solidFill>
                <a:latin typeface="DIN Offc" panose="020B0504020101020102" pitchFamily="34" charset="0"/>
              </a:rPr>
              <a:t> LIFE</a:t>
            </a:r>
            <a:endParaRPr lang="id-ID" dirty="0">
              <a:solidFill>
                <a:srgbClr val="FFFFFF"/>
              </a:solidFill>
              <a:latin typeface="DIN Offc" panose="020B0504020101020102" pitchFamily="34" charset="0"/>
            </a:endParaRPr>
          </a:p>
        </p:txBody>
      </p:sp>
      <p:sp>
        <p:nvSpPr>
          <p:cNvPr id="5" name="Freeform 4"/>
          <p:cNvSpPr/>
          <p:nvPr userDrawn="1"/>
        </p:nvSpPr>
        <p:spPr bwMode="auto">
          <a:xfrm>
            <a:off x="3155333" y="2072640"/>
            <a:ext cx="2997818" cy="2851682"/>
          </a:xfrm>
          <a:custGeom>
            <a:avLst/>
            <a:gdLst>
              <a:gd name="connsiteX0" fmla="*/ 1343025 w 1347788"/>
              <a:gd name="connsiteY0" fmla="*/ 552450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271587 h 1743075"/>
              <a:gd name="connsiteX0" fmla="*/ 1339661 w 1347788"/>
              <a:gd name="connsiteY0" fmla="*/ 341288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271587 h 1743075"/>
              <a:gd name="connsiteX0" fmla="*/ 1339661 w 1347788"/>
              <a:gd name="connsiteY0" fmla="*/ 410395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271587 h 1743075"/>
              <a:gd name="connsiteX0" fmla="*/ 1339661 w 1347788"/>
              <a:gd name="connsiteY0" fmla="*/ 410395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455876 h 1743075"/>
              <a:gd name="connsiteX0" fmla="*/ 1343087 w 1347788"/>
              <a:gd name="connsiteY0" fmla="*/ 363818 h 1743075"/>
              <a:gd name="connsiteX1" fmla="*/ 1343025 w 1347788"/>
              <a:gd name="connsiteY1" fmla="*/ 0 h 1743075"/>
              <a:gd name="connsiteX2" fmla="*/ 0 w 1347788"/>
              <a:gd name="connsiteY2" fmla="*/ 0 h 1743075"/>
              <a:gd name="connsiteX3" fmla="*/ 0 w 1347788"/>
              <a:gd name="connsiteY3" fmla="*/ 1743075 h 1743075"/>
              <a:gd name="connsiteX4" fmla="*/ 1347788 w 1347788"/>
              <a:gd name="connsiteY4" fmla="*/ 1743075 h 1743075"/>
              <a:gd name="connsiteX5" fmla="*/ 1347788 w 1347788"/>
              <a:gd name="connsiteY5" fmla="*/ 1455876 h 1743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347788" h="1743075">
                <a:moveTo>
                  <a:pt x="1343087" y="363818"/>
                </a:moveTo>
                <a:cubicBezTo>
                  <a:pt x="1344208" y="250055"/>
                  <a:pt x="1341904" y="113763"/>
                  <a:pt x="1343025" y="0"/>
                </a:cubicBezTo>
                <a:lnTo>
                  <a:pt x="0" y="0"/>
                </a:lnTo>
                <a:lnTo>
                  <a:pt x="0" y="1743075"/>
                </a:lnTo>
                <a:lnTo>
                  <a:pt x="1347788" y="1743075"/>
                </a:lnTo>
                <a:lnTo>
                  <a:pt x="1347788" y="1455876"/>
                </a:lnTo>
              </a:path>
            </a:pathLst>
          </a:custGeom>
          <a:noFill/>
          <a:ln w="1111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fr-BE" sz="2400"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115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86211" y="1924050"/>
            <a:ext cx="10540590" cy="428624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2pPr>
            <a:lvl3pPr marL="11430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3pPr>
            <a:lvl4pPr marL="16002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4pPr>
            <a:lvl5pPr marL="2057400" indent="-228600">
              <a:buFont typeface="Wingdings" panose="05000000000000000000" pitchFamily="2" charset="2"/>
              <a:buChar char="§"/>
              <a:defRPr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171451" y="17211"/>
            <a:ext cx="11537949" cy="338651"/>
          </a:xfrm>
          <a:prstGeom prst="rect">
            <a:avLst/>
          </a:prstGeom>
          <a:noFill/>
        </p:spPr>
        <p:txBody>
          <a:bodyPr lIns="91440" tIns="0" rIns="0" bIns="0" anchor="ctr" anchorCtr="0">
            <a:normAutofit/>
          </a:bodyPr>
          <a:lstStyle>
            <a:lvl1pPr marL="0" indent="0" algn="l">
              <a:buNone/>
              <a:defRPr sz="1600" b="0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  <a:endParaRPr lang="fr-BE" dirty="0"/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686210" y="1203734"/>
            <a:ext cx="10540590" cy="38624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686210" y="676811"/>
            <a:ext cx="10540590" cy="523220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02804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772816"/>
            <a:ext cx="12192000" cy="3456409"/>
          </a:xfrm>
        </p:spPr>
        <p:txBody>
          <a:bodyPr lIns="720000" tIns="503999" rIns="720000" bIns="360000" anchor="t"/>
          <a:lstStyle>
            <a:lvl1pPr algn="ctr">
              <a:defRPr sz="6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5229225"/>
            <a:ext cx="12192000" cy="1628775"/>
          </a:xfrm>
          <a:solidFill>
            <a:schemeClr val="bg1"/>
          </a:solidFill>
        </p:spPr>
        <p:txBody>
          <a:bodyPr lIns="720000" tIns="360000" rIns="720000" bIns="360000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EB06CA-C001-D644-B04A-339BF8E59C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7381" y="245493"/>
            <a:ext cx="1752195" cy="1355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432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1117">
          <p15:clr>
            <a:srgbClr val="FBAE40"/>
          </p15:clr>
        </p15:guide>
        <p15:guide id="3" orient="horz" pos="32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Left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533400"/>
            <a:ext cx="5734050" cy="57912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43921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2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0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2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0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452341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35159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Left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533400"/>
            <a:ext cx="5734050" cy="57912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43921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2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0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2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0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452341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7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Left blu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533400"/>
            <a:ext cx="5734050" cy="57912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 rot="5400000" flipH="1">
            <a:off x="43921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2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0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2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0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 flipH="1">
            <a:off x="452341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1186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Left blu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0" y="533400"/>
            <a:ext cx="5734050" cy="5791200"/>
          </a:xfrm>
          <a:prstGeom prst="rect">
            <a:avLst/>
          </a:prstGeom>
          <a:solidFill>
            <a:schemeClr val="accent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64928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 rot="5400000" flipH="1">
            <a:off x="43921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2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0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2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0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 flipH="1">
            <a:off x="452341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51902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Right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533400"/>
            <a:ext cx="5734050" cy="57912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 rot="5400000" flipH="1">
            <a:off x="689716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3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1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3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1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>
          <a:xfrm flipH="1">
            <a:off x="1098136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4774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Right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rgbClr val="FFFFFF"/>
            </a:fgClr>
            <a:bgClr>
              <a:schemeClr val="accent2">
                <a:lumMod val="20000"/>
                <a:lumOff val="80000"/>
              </a:schemeClr>
            </a:bgClr>
          </a:pattFill>
        </p:spPr>
        <p:txBody>
          <a:bodyPr vert="horz" lIns="91440" tIns="45720" rIns="91440" bIns="45720" rtlCol="0">
            <a:normAutofit/>
          </a:bodyPr>
          <a:lstStyle>
            <a:lvl1pPr>
              <a:defRPr lang="fr-BE" dirty="0"/>
            </a:lvl1pPr>
          </a:lstStyle>
          <a:p>
            <a:pPr marL="0" lvl="0" indent="0">
              <a:buNone/>
            </a:pPr>
            <a:r>
              <a:rPr lang="en-US"/>
              <a:t>Click icon to add picture</a:t>
            </a:r>
            <a:endParaRPr lang="fr-BE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457950" y="533400"/>
            <a:ext cx="5734050" cy="57912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>
              <a:buNone/>
              <a:defRPr lang="fr-BE" sz="100" dirty="0">
                <a:noFill/>
              </a:defRPr>
            </a:lvl1pPr>
          </a:lstStyle>
          <a:p>
            <a:pPr marL="0" lvl="0" algn="ctr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7107238" y="2320925"/>
            <a:ext cx="4433887" cy="222091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400" b="1">
                <a:solidFill>
                  <a:srgbClr val="FFFFFF"/>
                </a:solidFill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 rot="5400000" flipH="1">
            <a:off x="6897169" y="2124260"/>
            <a:ext cx="772024" cy="767631"/>
          </a:xfrm>
          <a:custGeom>
            <a:avLst/>
            <a:gdLst>
              <a:gd name="connsiteX0" fmla="*/ 772024 w 772024"/>
              <a:gd name="connsiteY0" fmla="*/ 767631 h 767631"/>
              <a:gd name="connsiteX1" fmla="*/ 772024 w 772024"/>
              <a:gd name="connsiteY1" fmla="*/ 0 h 767631"/>
              <a:gd name="connsiteX2" fmla="*/ 708436 w 772024"/>
              <a:gd name="connsiteY2" fmla="*/ 0 h 767631"/>
              <a:gd name="connsiteX3" fmla="*/ 708436 w 772024"/>
              <a:gd name="connsiteY3" fmla="*/ 704043 h 767631"/>
              <a:gd name="connsiteX4" fmla="*/ 0 w 772024"/>
              <a:gd name="connsiteY4" fmla="*/ 704043 h 767631"/>
              <a:gd name="connsiteX5" fmla="*/ 0 w 772024"/>
              <a:gd name="connsiteY5" fmla="*/ 767631 h 767631"/>
              <a:gd name="connsiteX6" fmla="*/ 708436 w 772024"/>
              <a:gd name="connsiteY6" fmla="*/ 767631 h 767631"/>
              <a:gd name="connsiteX7" fmla="*/ 708436 w 772024"/>
              <a:gd name="connsiteY7" fmla="*/ 767631 h 767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72024" h="767631">
                <a:moveTo>
                  <a:pt x="772024" y="767631"/>
                </a:moveTo>
                <a:lnTo>
                  <a:pt x="772024" y="0"/>
                </a:lnTo>
                <a:lnTo>
                  <a:pt x="708436" y="0"/>
                </a:lnTo>
                <a:lnTo>
                  <a:pt x="708436" y="704043"/>
                </a:lnTo>
                <a:lnTo>
                  <a:pt x="0" y="704043"/>
                </a:lnTo>
                <a:lnTo>
                  <a:pt x="0" y="767631"/>
                </a:lnTo>
                <a:lnTo>
                  <a:pt x="708436" y="767631"/>
                </a:lnTo>
                <a:lnTo>
                  <a:pt x="708436" y="7676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 flipH="1">
            <a:off x="10981366" y="3963914"/>
            <a:ext cx="767632" cy="772024"/>
          </a:xfrm>
          <a:custGeom>
            <a:avLst/>
            <a:gdLst>
              <a:gd name="connsiteX0" fmla="*/ 63589 w 767632"/>
              <a:gd name="connsiteY0" fmla="*/ 0 h 772024"/>
              <a:gd name="connsiteX1" fmla="*/ 1 w 767632"/>
              <a:gd name="connsiteY1" fmla="*/ 0 h 772024"/>
              <a:gd name="connsiteX2" fmla="*/ 1 w 767632"/>
              <a:gd name="connsiteY2" fmla="*/ 708436 h 772024"/>
              <a:gd name="connsiteX3" fmla="*/ 0 w 767632"/>
              <a:gd name="connsiteY3" fmla="*/ 708436 h 772024"/>
              <a:gd name="connsiteX4" fmla="*/ 0 w 767632"/>
              <a:gd name="connsiteY4" fmla="*/ 772024 h 772024"/>
              <a:gd name="connsiteX5" fmla="*/ 767632 w 767632"/>
              <a:gd name="connsiteY5" fmla="*/ 772024 h 772024"/>
              <a:gd name="connsiteX6" fmla="*/ 767632 w 767632"/>
              <a:gd name="connsiteY6" fmla="*/ 708436 h 772024"/>
              <a:gd name="connsiteX7" fmla="*/ 63589 w 767632"/>
              <a:gd name="connsiteY7" fmla="*/ 708436 h 772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632" h="772024">
                <a:moveTo>
                  <a:pt x="63589" y="0"/>
                </a:moveTo>
                <a:lnTo>
                  <a:pt x="1" y="0"/>
                </a:lnTo>
                <a:lnTo>
                  <a:pt x="1" y="708436"/>
                </a:lnTo>
                <a:lnTo>
                  <a:pt x="0" y="708436"/>
                </a:lnTo>
                <a:lnTo>
                  <a:pt x="0" y="772024"/>
                </a:lnTo>
                <a:lnTo>
                  <a:pt x="767632" y="772024"/>
                </a:lnTo>
                <a:lnTo>
                  <a:pt x="767632" y="708436"/>
                </a:lnTo>
                <a:lnTo>
                  <a:pt x="63589" y="70843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00" b="1">
                <a:noFill/>
              </a:defRPr>
            </a:lvl1pPr>
            <a:lvl2pPr marL="457200" indent="0">
              <a:buNone/>
              <a:defRPr>
                <a:solidFill>
                  <a:srgbClr val="FFFFFF"/>
                </a:solidFill>
              </a:defRPr>
            </a:lvl2pPr>
            <a:lvl3pPr marL="914400" indent="0">
              <a:buNone/>
              <a:defRPr>
                <a:solidFill>
                  <a:srgbClr val="FFFFFF"/>
                </a:solidFill>
              </a:defRPr>
            </a:lvl3pPr>
            <a:lvl4pPr marL="1371600" indent="0">
              <a:buNone/>
              <a:defRPr>
                <a:solidFill>
                  <a:srgbClr val="FFFFFF"/>
                </a:solidFill>
              </a:defRPr>
            </a:lvl4pPr>
            <a:lvl5pPr marL="1828800" indent="0"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08631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361997"/>
          </a:xfrm>
          <a:prstGeom prst="rect">
            <a:avLst/>
          </a:prstGeom>
          <a:gradFill>
            <a:gsLst>
              <a:gs pos="80000">
                <a:schemeClr val="tx1"/>
              </a:gs>
              <a:gs pos="0">
                <a:schemeClr val="tx2"/>
              </a:gs>
            </a:gsLst>
            <a:lin ang="8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en-US" sz="4800" dirty="0">
              <a:solidFill>
                <a:schemeClr val="bg1"/>
              </a:solidFill>
              <a:latin typeface="DIN Offc Light" panose="020B0504020101010102" pitchFamily="34" charset="0"/>
              <a:cs typeface="Arial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0" y="361997"/>
            <a:ext cx="12192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TextBox 2"/>
          <p:cNvSpPr txBox="1"/>
          <p:nvPr userDrawn="1"/>
        </p:nvSpPr>
        <p:spPr>
          <a:xfrm>
            <a:off x="11830506" y="58339"/>
            <a:ext cx="247074" cy="245318"/>
          </a:xfrm>
          <a:prstGeom prst="rect">
            <a:avLst/>
          </a:prstGeom>
          <a:noFill/>
          <a:ln w="31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lvl="0" algn="ctr" fontAlgn="base">
              <a:spcBef>
                <a:spcPct val="0"/>
              </a:spcBef>
              <a:spcAft>
                <a:spcPct val="0"/>
              </a:spcAft>
              <a:defRPr sz="4800">
                <a:solidFill>
                  <a:schemeClr val="bg1"/>
                </a:solidFill>
                <a:latin typeface="DIN Offc Light" panose="020B0504020101010102" pitchFamily="34" charset="0"/>
                <a:cs typeface="Arial" charset="0"/>
              </a:defRPr>
            </a:lvl1pPr>
          </a:lstStyle>
          <a:p>
            <a:pPr lvl="0"/>
            <a:fld id="{1D94F95D-D830-43B9-AA6D-9A7C6420FAFA}" type="slidenum">
              <a:rPr lang="fr-BE" sz="900" b="1" smtClean="0">
                <a:solidFill>
                  <a:schemeClr val="bg1"/>
                </a:solidFill>
                <a:latin typeface="+mj-lt"/>
              </a:rPr>
              <a:pPr lvl="0"/>
              <a:t>‹#›</a:t>
            </a:fld>
            <a:endParaRPr lang="fr-BE" sz="9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6193" y="6453935"/>
            <a:ext cx="542925" cy="274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858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650" r:id="rId2"/>
    <p:sldLayoutId id="2147483651" r:id="rId3"/>
    <p:sldLayoutId id="2147483660" r:id="rId4"/>
    <p:sldLayoutId id="2147483703" r:id="rId5"/>
    <p:sldLayoutId id="2147483701" r:id="rId6"/>
    <p:sldLayoutId id="2147483698" r:id="rId7"/>
    <p:sldLayoutId id="2147483668" r:id="rId8"/>
    <p:sldLayoutId id="2147483716" r:id="rId9"/>
    <p:sldLayoutId id="2147483717" r:id="rId10"/>
    <p:sldLayoutId id="2147483718" r:id="rId11"/>
    <p:sldLayoutId id="2147483663" r:id="rId12"/>
    <p:sldLayoutId id="2147483711" r:id="rId13"/>
    <p:sldLayoutId id="2147483714" r:id="rId14"/>
    <p:sldLayoutId id="2147483713" r:id="rId15"/>
    <p:sldLayoutId id="2147483664" r:id="rId16"/>
    <p:sldLayoutId id="2147483719" r:id="rId17"/>
    <p:sldLayoutId id="2147483720" r:id="rId18"/>
    <p:sldLayoutId id="2147483721" r:id="rId19"/>
    <p:sldLayoutId id="2147483665" r:id="rId20"/>
    <p:sldLayoutId id="2147483722" r:id="rId21"/>
    <p:sldLayoutId id="2147483723" r:id="rId22"/>
    <p:sldLayoutId id="2147483724" r:id="rId23"/>
    <p:sldLayoutId id="2147483666" r:id="rId24"/>
    <p:sldLayoutId id="2147483725" r:id="rId25"/>
    <p:sldLayoutId id="2147483726" r:id="rId26"/>
    <p:sldLayoutId id="2147483727" r:id="rId27"/>
    <p:sldLayoutId id="2147483738" r:id="rId28"/>
    <p:sldLayoutId id="2147483669" r:id="rId29"/>
    <p:sldLayoutId id="2147483739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chart" Target="../charts/chart2.xml"/><Relationship Id="rId4" Type="http://schemas.openxmlformats.org/officeDocument/2006/relationships/tags" Target="../tags/tag5.xml"/><Relationship Id="rId9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.xml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creativecommons.org/licenses/by/2.5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5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574027" y="2928721"/>
            <a:ext cx="5043945" cy="2083304"/>
          </a:xfrm>
        </p:spPr>
        <p:txBody>
          <a:bodyPr/>
          <a:lstStyle/>
          <a:p>
            <a:r>
              <a:rPr lang="en-GB" sz="3200" dirty="0"/>
              <a:t>Quantification of the carbonation rate in </a:t>
            </a:r>
            <a:br>
              <a:rPr lang="hu-HU" sz="3200" dirty="0"/>
            </a:br>
            <a:r>
              <a:rPr lang="en-GB" sz="3200" dirty="0"/>
              <a:t>an embankment </a:t>
            </a:r>
            <a:br>
              <a:rPr lang="en-GB" sz="3200" dirty="0"/>
            </a:br>
            <a:r>
              <a:rPr lang="en-GB" sz="3200" dirty="0"/>
              <a:t>after 34 year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1352456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58CB7BD-8C95-2BCC-D192-D69D0EF196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Based on Best-Available-Techniqu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549214-E7FE-8438-133F-276471830B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arbon footprint of quick lime – CL90Q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419C7D-AF43-FCB7-EB8A-49C67071EC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4551" y="6021152"/>
            <a:ext cx="5785963" cy="523220"/>
          </a:xfrm>
          <a:ln w="19050">
            <a:noFill/>
          </a:ln>
        </p:spPr>
        <p:txBody>
          <a:bodyPr>
            <a:normAutofit/>
          </a:bodyPr>
          <a:lstStyle/>
          <a:p>
            <a:r>
              <a:rPr lang="en-US" sz="1400" dirty="0">
                <a:solidFill>
                  <a:schemeClr val="tx1"/>
                </a:solidFill>
              </a:rPr>
              <a:t>Source: Carmeuse estimate – based of PFR-kilns – CL90Q-high pur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467C34-90FD-B819-3956-A09E4652797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/>
              <a:t>Soil improvement with quicklim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043BFC-7608-C7F1-9CA6-CB2256F04F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220" t="36667" r="33591" b="11986"/>
          <a:stretch/>
        </p:blipFill>
        <p:spPr>
          <a:xfrm>
            <a:off x="814552" y="2133461"/>
            <a:ext cx="5785963" cy="3867426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51682BB-8C1D-1166-8B2E-44375E6ADCCD}"/>
              </a:ext>
            </a:extLst>
          </p:cNvPr>
          <p:cNvSpPr txBox="1">
            <a:spLocks/>
          </p:cNvSpPr>
          <p:nvPr/>
        </p:nvSpPr>
        <p:spPr>
          <a:xfrm>
            <a:off x="6800629" y="2133461"/>
            <a:ext cx="5223642" cy="3146296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>
            <a:normAutofit lnSpcReduction="100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3018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6842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Life Cycle Inventory 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LCI </a:t>
            </a:r>
            <a:r>
              <a:rPr lang="en-US" baseline="-25000" dirty="0">
                <a:solidFill>
                  <a:schemeClr val="tx1"/>
                </a:solidFill>
              </a:rPr>
              <a:t>EuLA2015</a:t>
            </a:r>
            <a:r>
              <a:rPr lang="en-US" dirty="0">
                <a:solidFill>
                  <a:schemeClr val="tx1"/>
                </a:solidFill>
              </a:rPr>
              <a:t> = </a:t>
            </a:r>
            <a:r>
              <a:rPr lang="en-US" dirty="0">
                <a:solidFill>
                  <a:schemeClr val="accent5"/>
                </a:solidFill>
              </a:rPr>
              <a:t>1.170 kg/T</a:t>
            </a:r>
          </a:p>
          <a:p>
            <a:pPr marL="573088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Peer Review</a:t>
            </a:r>
          </a:p>
          <a:p>
            <a:pPr marL="573088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ownloadable @ GABI</a:t>
            </a:r>
          </a:p>
          <a:p>
            <a:pPr marL="573088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New LCI under construction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Carbonation ra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40% </a:t>
            </a:r>
            <a:r>
              <a:rPr lang="en-US" baseline="-25000" dirty="0" err="1">
                <a:solidFill>
                  <a:schemeClr val="tx1"/>
                </a:solidFill>
              </a:rPr>
              <a:t>EuLA</a:t>
            </a:r>
            <a:r>
              <a:rPr lang="en-US" baseline="-25000" dirty="0">
                <a:solidFill>
                  <a:schemeClr val="tx1"/>
                </a:solidFill>
              </a:rPr>
              <a:t> – </a:t>
            </a:r>
            <a:r>
              <a:rPr lang="en-US" baseline="-25000" dirty="0" err="1">
                <a:solidFill>
                  <a:schemeClr val="tx1"/>
                </a:solidFill>
              </a:rPr>
              <a:t>S.Haas</a:t>
            </a:r>
            <a:r>
              <a:rPr lang="en-US" baseline="-25000" dirty="0">
                <a:solidFill>
                  <a:schemeClr val="tx1"/>
                </a:solidFill>
              </a:rPr>
              <a:t> &amp; All</a:t>
            </a:r>
            <a:r>
              <a:rPr lang="en-US" dirty="0">
                <a:solidFill>
                  <a:schemeClr val="tx1"/>
                </a:solidFill>
              </a:rPr>
              <a:t> = </a:t>
            </a:r>
            <a:r>
              <a:rPr lang="en-US" dirty="0">
                <a:solidFill>
                  <a:schemeClr val="accent5"/>
                </a:solidFill>
              </a:rPr>
              <a:t>0.314 kg/T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marL="573088" lvl="1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B8F3D80-5B99-09FA-10C2-E437AF3E202A}"/>
              </a:ext>
            </a:extLst>
          </p:cNvPr>
          <p:cNvSpPr txBox="1">
            <a:spLocks/>
          </p:cNvSpPr>
          <p:nvPr/>
        </p:nvSpPr>
        <p:spPr>
          <a:xfrm>
            <a:off x="6800629" y="5438998"/>
            <a:ext cx="5223642" cy="60891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3018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6842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LCI </a:t>
            </a:r>
            <a:r>
              <a:rPr lang="en-US" baseline="-25000" dirty="0">
                <a:solidFill>
                  <a:schemeClr val="tx1"/>
                </a:solidFill>
              </a:rPr>
              <a:t>CL90-Q soil stab </a:t>
            </a:r>
            <a:r>
              <a:rPr lang="en-US" dirty="0">
                <a:solidFill>
                  <a:schemeClr val="tx1"/>
                </a:solidFill>
              </a:rPr>
              <a:t>= </a:t>
            </a:r>
            <a:r>
              <a:rPr lang="en-US" dirty="0">
                <a:solidFill>
                  <a:schemeClr val="accent5"/>
                </a:solidFill>
              </a:rPr>
              <a:t>0.856 kg/T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A0A04A-C37E-6E84-F9B5-0956322AB312}"/>
              </a:ext>
            </a:extLst>
          </p:cNvPr>
          <p:cNvSpPr txBox="1"/>
          <p:nvPr/>
        </p:nvSpPr>
        <p:spPr>
          <a:xfrm>
            <a:off x="8910918" y="842682"/>
            <a:ext cx="2151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Check the numbers</a:t>
            </a:r>
            <a:endParaRPr lang="sk-SK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703193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B0A23A53-0DC4-B5E6-4FB5-787769C8E1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1" imgH="472" progId="TCLayout.ActiveDocument.1">
                  <p:embed/>
                </p:oleObj>
              </mc:Choice>
              <mc:Fallback>
                <p:oleObj name="think-cell Slide" r:id="rId8" imgW="471" imgH="472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B0A23A53-0DC4-B5E6-4FB5-787769C8E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A0B34D-FEC6-7DFB-CF7E-7DFFCCD4B7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Initiatives on-going : </a:t>
            </a:r>
            <a:r>
              <a:rPr lang="en-US" dirty="0">
                <a:solidFill>
                  <a:schemeClr val="accent5"/>
                </a:solidFill>
              </a:rPr>
              <a:t>Net Zero Carbon </a:t>
            </a:r>
            <a:r>
              <a:rPr lang="en-US" dirty="0"/>
              <a:t>Industry by 205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D6C69F-AF1E-DF09-568B-0CD93289F7A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/>
              <a:t>Soil improvement with quicklime</a:t>
            </a:r>
          </a:p>
        </p:txBody>
      </p:sp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5488A6C6-5F91-B107-8895-1EC58B75F8C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8743432"/>
              </p:ext>
            </p:extLst>
          </p:nvPr>
        </p:nvGraphicFramePr>
        <p:xfrm>
          <a:off x="1650470" y="1985963"/>
          <a:ext cx="3190875" cy="335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A2697F16-C92C-2345-ADA5-C8C2EDB207E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004483" y="5375275"/>
            <a:ext cx="463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DC83B0-A0CD-486F-B53B-99180E63EE1D}" type="datetime'''''''''''''''''''''''''''''''''''''''''''''2''022'">
              <a:rPr lang="en-US" altLang="en-US" sz="1400" b="1" smtClean="0">
                <a:solidFill>
                  <a:schemeClr val="tx1"/>
                </a:solidFill>
              </a:rPr>
              <a:pPr/>
              <a:t>2022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AE7AAB-E4DC-0EB4-B5A1-1AF4CA0FB97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014133" y="5375275"/>
            <a:ext cx="463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CC6ABA-1595-4D82-842C-B149B8F415A6}" type="datetime'''2''''''''''''0''''3''''''0'">
              <a:rPr lang="en-US" altLang="en-US" sz="1400" b="1" smtClean="0">
                <a:solidFill>
                  <a:schemeClr val="tx1"/>
                </a:solidFill>
              </a:rPr>
              <a:pPr/>
              <a:t>203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27098A-6B5A-BBDF-AA4C-2173D835E9C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22195" y="5375275"/>
            <a:ext cx="4635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F9042C-9873-48C2-A58D-725109D21087}" type="datetime'''''''''2''''''''0''5''''''''''''''''''0'''''''">
              <a:rPr lang="en-US" altLang="en-US" sz="1400" b="1" smtClean="0">
                <a:solidFill>
                  <a:schemeClr val="tx1"/>
                </a:solidFill>
              </a:rPr>
              <a:pPr/>
              <a:t>205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598B98-CF96-24F6-54B3-74589787A03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32920" y="3179763"/>
            <a:ext cx="8810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96248F2-A7DE-4484-A80E-F07EE371640F}" type="datetime'''''''C''O2''''/''''''''''''''''''T'' ''''''''l''''''i''m''e'">
              <a:rPr lang="en-US" altLang="en-US" sz="1400" smtClean="0">
                <a:solidFill>
                  <a:schemeClr val="tx1"/>
                </a:solidFill>
              </a:rPr>
              <a:pPr/>
              <a:t>CO2/T lime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3" name="Content Placeholder 3">
            <a:extLst>
              <a:ext uri="{FF2B5EF4-FFF2-40B4-BE49-F238E27FC236}">
                <a16:creationId xmlns:a16="http://schemas.microsoft.com/office/drawing/2014/main" id="{C1B4B0DF-B41B-CB7B-CD69-C601E7B994A6}"/>
              </a:ext>
            </a:extLst>
          </p:cNvPr>
          <p:cNvSpPr txBox="1">
            <a:spLocks/>
          </p:cNvSpPr>
          <p:nvPr/>
        </p:nvSpPr>
        <p:spPr>
          <a:xfrm>
            <a:off x="985471" y="6021152"/>
            <a:ext cx="5785963" cy="523220"/>
          </a:xfrm>
          <a:prstGeom prst="rect">
            <a:avLst/>
          </a:prstGeom>
          <a:ln w="19050">
            <a:noFill/>
          </a:ln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3018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6842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Source: Carmeuse estimate – own assumptio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4" name="Content Placeholder 3">
            <a:extLst>
              <a:ext uri="{FF2B5EF4-FFF2-40B4-BE49-F238E27FC236}">
                <a16:creationId xmlns:a16="http://schemas.microsoft.com/office/drawing/2014/main" id="{EF90A393-2E74-1BBD-F7B9-B4A057166632}"/>
              </a:ext>
            </a:extLst>
          </p:cNvPr>
          <p:cNvSpPr txBox="1">
            <a:spLocks/>
          </p:cNvSpPr>
          <p:nvPr/>
        </p:nvSpPr>
        <p:spPr>
          <a:xfrm>
            <a:off x="5789513" y="2508440"/>
            <a:ext cx="5223642" cy="2312607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None/>
              <a:defRPr sz="24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23018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4619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6842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tx1"/>
                </a:solidFill>
              </a:rPr>
              <a:t>A lot of initiatives on-going on …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arbon Capture </a:t>
            </a:r>
            <a:r>
              <a:rPr lang="en-US" dirty="0">
                <a:solidFill>
                  <a:schemeClr val="accent5"/>
                </a:solidFill>
              </a:rPr>
              <a:t>Util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accent5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arbon Capture </a:t>
            </a:r>
            <a:r>
              <a:rPr lang="en-US" dirty="0">
                <a:solidFill>
                  <a:schemeClr val="accent5"/>
                </a:solidFill>
              </a:rPr>
              <a:t>Stor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19EAB4B-3F24-F715-F3E4-5CC500B61474}"/>
              </a:ext>
            </a:extLst>
          </p:cNvPr>
          <p:cNvSpPr txBox="1"/>
          <p:nvPr/>
        </p:nvSpPr>
        <p:spPr>
          <a:xfrm>
            <a:off x="8722660" y="1664271"/>
            <a:ext cx="2151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highlight>
                  <a:srgbClr val="FFFF00"/>
                </a:highlight>
              </a:rPr>
              <a:t>Check the numbers</a:t>
            </a:r>
            <a:endParaRPr lang="sk-SK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1761732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98068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D31DB1-C101-5FE1-638C-FAD3B2505D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D31DB1-C101-5FE1-638C-FAD3B2505D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556"/>
          <a:stretch/>
        </p:blipFill>
        <p:spPr bwMode="auto">
          <a:xfrm>
            <a:off x="0" y="0"/>
            <a:ext cx="12382499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eck 7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DE" sz="2133" dirty="0">
              <a:solidFill>
                <a:schemeClr val="tx1"/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ctrTitle"/>
          </p:nvPr>
        </p:nvSpPr>
        <p:spPr>
          <a:xfrm>
            <a:off x="0" y="35586"/>
            <a:ext cx="4708478" cy="4052319"/>
          </a:xfrm>
        </p:spPr>
        <p:txBody>
          <a:bodyPr vert="horz">
            <a:noAutofit/>
          </a:bodyPr>
          <a:lstStyle/>
          <a:p>
            <a:r>
              <a:rPr lang="en-GB" sz="3600" noProof="0" dirty="0"/>
              <a:t>Soil improvement with quicklime</a:t>
            </a:r>
            <a:br>
              <a:rPr lang="en-GB" sz="3600" noProof="0" dirty="0"/>
            </a:br>
            <a:br>
              <a:rPr lang="en-GB" sz="3600" noProof="0" dirty="0"/>
            </a:br>
            <a:r>
              <a:rPr lang="en-GB" sz="1800" b="0" dirty="0"/>
              <a:t>Quantification of the carbonation rate </a:t>
            </a:r>
            <a:br>
              <a:rPr lang="en-GB" sz="1800" b="0" dirty="0"/>
            </a:br>
            <a:r>
              <a:rPr lang="en-GB" sz="1800" b="0" dirty="0"/>
              <a:t>in an embankment </a:t>
            </a:r>
            <a:br>
              <a:rPr lang="en-GB" sz="1800" b="0" dirty="0"/>
            </a:br>
            <a:r>
              <a:rPr lang="en-GB" sz="1800" b="0" dirty="0"/>
              <a:t>after 34 years</a:t>
            </a:r>
          </a:p>
        </p:txBody>
      </p:sp>
      <p:sp>
        <p:nvSpPr>
          <p:cNvPr id="12" name="Titel 8"/>
          <p:cNvSpPr txBox="1">
            <a:spLocks/>
          </p:cNvSpPr>
          <p:nvPr/>
        </p:nvSpPr>
        <p:spPr bwMode="auto">
          <a:xfrm>
            <a:off x="3215680" y="5445224"/>
            <a:ext cx="8832981" cy="1412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8000" tIns="60960" rIns="0" bIns="60960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66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66"/>
                </a:solidFill>
                <a:latin typeface="Trebuchet MS" pitchFamily="34" charset="0"/>
              </a:defRPr>
            </a:lvl9pPr>
          </a:lstStyle>
          <a:p>
            <a:pPr marL="1310185" indent="-1310185" algn="l"/>
            <a:r>
              <a:rPr lang="en-US" sz="1867" b="0" kern="0" dirty="0">
                <a:solidFill>
                  <a:schemeClr val="tx1"/>
                </a:solidFill>
              </a:rPr>
              <a:t>	</a:t>
            </a:r>
            <a:r>
              <a:rPr lang="en-US" sz="1867" b="0" kern="0" dirty="0"/>
              <a:t>S. Haas, S. </a:t>
            </a:r>
            <a:r>
              <a:rPr lang="en-GB" sz="1867" b="0" kern="0" dirty="0"/>
              <a:t>Hammerschmidt</a:t>
            </a:r>
            <a:r>
              <a:rPr lang="en-US" sz="1867" b="0" kern="0" dirty="0"/>
              <a:t> </a:t>
            </a:r>
            <a:r>
              <a:rPr lang="en-US" sz="1467" b="0" kern="0" dirty="0"/>
              <a:t>(</a:t>
            </a:r>
            <a:r>
              <a:rPr lang="en-GB" sz="1467" b="0" kern="0" dirty="0"/>
              <a:t>Institute of lime and mortar research, Germany)</a:t>
            </a:r>
            <a:endParaRPr lang="de-DE" sz="1467" b="0" kern="0" dirty="0"/>
          </a:p>
          <a:p>
            <a:pPr marL="1310185" indent="-1310185" algn="l"/>
            <a:r>
              <a:rPr lang="en-GB" sz="1867" b="0" kern="0" dirty="0"/>
              <a:t>	A. </a:t>
            </a:r>
            <a:r>
              <a:rPr lang="en-GB" sz="1867" b="0" kern="0" dirty="0" err="1"/>
              <a:t>Shtiza</a:t>
            </a:r>
            <a:r>
              <a:rPr lang="en-GB" sz="1867" b="0" kern="0" dirty="0"/>
              <a:t> </a:t>
            </a:r>
            <a:r>
              <a:rPr lang="en-GB" sz="1467" b="0" kern="0" dirty="0"/>
              <a:t>(Industrial Minerals Association Europe, IMA-Europe, Belgium)</a:t>
            </a:r>
            <a:br>
              <a:rPr lang="de-DE" sz="1467" b="0" kern="0" dirty="0"/>
            </a:br>
            <a:r>
              <a:rPr lang="en-GB" sz="1867" b="0" kern="0" dirty="0"/>
              <a:t>Ch. </a:t>
            </a:r>
            <a:r>
              <a:rPr lang="en-GB" sz="1867" b="0" kern="0" dirty="0" err="1"/>
              <a:t>Denayer</a:t>
            </a:r>
            <a:r>
              <a:rPr lang="en-GB" sz="1867" b="0" kern="0" dirty="0"/>
              <a:t> </a:t>
            </a:r>
            <a:r>
              <a:rPr lang="en-GB" sz="1467" b="0" kern="0" dirty="0"/>
              <a:t>(Carmeuse, Belgium)</a:t>
            </a:r>
            <a:br>
              <a:rPr lang="de-DE" sz="1467" b="0" kern="0" dirty="0"/>
            </a:br>
            <a:r>
              <a:rPr lang="en-GB" sz="1867" b="0" kern="0" dirty="0"/>
              <a:t>D. Scutt </a:t>
            </a:r>
            <a:r>
              <a:rPr lang="en-GB" sz="1467" b="0" kern="0" dirty="0"/>
              <a:t>(Singleton Birch, United Kingdom)</a:t>
            </a:r>
            <a:endParaRPr lang="de-DE" sz="2667" b="0" kern="0" dirty="0"/>
          </a:p>
        </p:txBody>
      </p:sp>
    </p:spTree>
    <p:extLst>
      <p:ext uri="{BB962C8B-B14F-4D97-AF65-F5344CB8AC3E}">
        <p14:creationId xmlns:p14="http://schemas.microsoft.com/office/powerpoint/2010/main" val="2871628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31F35E-BC78-79AB-D203-276492E64D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Facts</a:t>
            </a:r>
            <a:endParaRPr lang="sk-S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23A65F-CCBD-3982-863B-6E6FAF92EA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79442" y="1826573"/>
            <a:ext cx="5432752" cy="4286249"/>
          </a:xfrm>
        </p:spPr>
        <p:txBody>
          <a:bodyPr/>
          <a:lstStyle/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sz="2000" dirty="0">
                <a:latin typeface="DIN Offc" panose="020B0504020101020102" pitchFamily="34" charset="0"/>
              </a:rPr>
              <a:t>Motorway A3 in South-Germany</a:t>
            </a:r>
          </a:p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sz="2000" dirty="0">
                <a:latin typeface="DIN Offc" panose="020B0504020101020102" pitchFamily="34" charset="0"/>
              </a:rPr>
              <a:t>Built in 1979</a:t>
            </a:r>
          </a:p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sz="2000" dirty="0">
                <a:latin typeface="DIN Offc" panose="020B0504020101020102" pitchFamily="34" charset="0"/>
              </a:rPr>
              <a:t>Embankment 10 m high</a:t>
            </a:r>
          </a:p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sz="2000" dirty="0">
                <a:latin typeface="DIN Offc" panose="020B0504020101020102" pitchFamily="34" charset="0"/>
              </a:rPr>
              <a:t>Built in layers</a:t>
            </a:r>
          </a:p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sz="2000" dirty="0">
                <a:latin typeface="DIN Offc" panose="020B0504020101020102" pitchFamily="34" charset="0"/>
              </a:rPr>
              <a:t>Soil treatment with lime </a:t>
            </a:r>
          </a:p>
          <a:p>
            <a:pPr marL="609585" indent="-609585">
              <a:buFont typeface="Arial" panose="020B0604020202020204" pitchFamily="34" charset="0"/>
              <a:buChar char="•"/>
            </a:pPr>
            <a:r>
              <a:rPr lang="en-US" sz="2000" dirty="0">
                <a:latin typeface="DIN Offc" panose="020B0504020101020102" pitchFamily="34" charset="0"/>
              </a:rPr>
              <a:t>Varying  lime dosages</a:t>
            </a:r>
            <a:endParaRPr lang="en-GB" sz="2000" dirty="0">
              <a:latin typeface="DIN Offc" panose="020B0504020101020102" pitchFamily="34" charset="0"/>
            </a:endParaRPr>
          </a:p>
          <a:p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B83846-4010-7031-DA39-181E45DFE2E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>
            <a:normAutofit/>
          </a:bodyPr>
          <a:lstStyle/>
          <a:p>
            <a:r>
              <a:rPr lang="en-GB" sz="1600" b="0" dirty="0"/>
              <a:t>Quantification of the carbonation rate in an embankment after 34 years</a:t>
            </a:r>
            <a:endParaRPr lang="en-US" sz="1600" dirty="0"/>
          </a:p>
        </p:txBody>
      </p:sp>
      <p:pic>
        <p:nvPicPr>
          <p:cNvPr id="6" name="Picture 2" descr="C:\Users\haas\Desktop\Autobahnen_in_Deutschland_svg.png">
            <a:extLst>
              <a:ext uri="{FF2B5EF4-FFF2-40B4-BE49-F238E27FC236}">
                <a16:creationId xmlns:a16="http://schemas.microsoft.com/office/drawing/2014/main" id="{67DB741D-396D-4599-5FF3-711D59F38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5346" y="620238"/>
            <a:ext cx="4025068" cy="5492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feil nach unten 11">
            <a:extLst>
              <a:ext uri="{FF2B5EF4-FFF2-40B4-BE49-F238E27FC236}">
                <a16:creationId xmlns:a16="http://schemas.microsoft.com/office/drawing/2014/main" id="{A343E2EA-F700-4DAE-C87E-014AD224E4DC}"/>
              </a:ext>
            </a:extLst>
          </p:cNvPr>
          <p:cNvSpPr/>
          <p:nvPr/>
        </p:nvSpPr>
        <p:spPr>
          <a:xfrm>
            <a:off x="8632718" y="4353007"/>
            <a:ext cx="384043" cy="480053"/>
          </a:xfrm>
          <a:prstGeom prst="downArrow">
            <a:avLst/>
          </a:prstGeom>
          <a:solidFill>
            <a:srgbClr val="C00000"/>
          </a:solidFill>
          <a:ln w="127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8" name="Rechteck 14">
            <a:extLst>
              <a:ext uri="{FF2B5EF4-FFF2-40B4-BE49-F238E27FC236}">
                <a16:creationId xmlns:a16="http://schemas.microsoft.com/office/drawing/2014/main" id="{EEB346D9-C900-DDBF-2A8D-1FE3888CDB33}"/>
              </a:ext>
            </a:extLst>
          </p:cNvPr>
          <p:cNvSpPr/>
          <p:nvPr/>
        </p:nvSpPr>
        <p:spPr>
          <a:xfrm>
            <a:off x="6841143" y="6204304"/>
            <a:ext cx="15648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hlinkClick r:id="rId3"/>
              </a:rPr>
              <a:t>Wikipedia, © BY 2.5</a:t>
            </a:r>
            <a:endParaRPr lang="de-DE" sz="1200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43E79AEE-A99F-96D5-AAD1-BFEB97021EA9}"/>
              </a:ext>
            </a:extLst>
          </p:cNvPr>
          <p:cNvSpPr txBox="1">
            <a:spLocks/>
          </p:cNvSpPr>
          <p:nvPr/>
        </p:nvSpPr>
        <p:spPr>
          <a:xfrm>
            <a:off x="10055380" y="6342803"/>
            <a:ext cx="1325245" cy="365125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Source : BVK</a:t>
            </a:r>
            <a:endParaRPr lang="de-DE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D09EEB3-0665-EBA9-ED1F-CC7946BB8C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97180" y="545757"/>
            <a:ext cx="1576639" cy="1441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764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A0BF5D-AAAA-93C7-8DD9-107A593B41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 dirty="0"/>
              <a:t>Initial Situation</a:t>
            </a:r>
            <a:r>
              <a:rPr lang="hu-HU" noProof="0" dirty="0"/>
              <a:t> </a:t>
            </a:r>
            <a:r>
              <a:rPr lang="en-GB" noProof="0" dirty="0"/>
              <a:t>1979</a:t>
            </a:r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236D90-BA8A-195D-F401-8307D4951CE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/>
              <a:t>Soil improvement with quicklime</a:t>
            </a:r>
          </a:p>
        </p:txBody>
      </p:sp>
      <p:sp>
        <p:nvSpPr>
          <p:cNvPr id="7" name="Inhaltsplatzhalter 3">
            <a:extLst>
              <a:ext uri="{FF2B5EF4-FFF2-40B4-BE49-F238E27FC236}">
                <a16:creationId xmlns:a16="http://schemas.microsoft.com/office/drawing/2014/main" id="{08342E51-EA95-48B9-11FD-14E8F985FD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68400" y="1613012"/>
            <a:ext cx="10541000" cy="4286250"/>
          </a:xfrm>
        </p:spPr>
        <p:txBody>
          <a:bodyPr>
            <a:normAutofit/>
          </a:bodyPr>
          <a:lstStyle/>
          <a:p>
            <a:pPr marL="609585" indent="-609585"/>
            <a:r>
              <a:rPr lang="en-GB" sz="2000" dirty="0"/>
              <a:t>Soil:</a:t>
            </a:r>
          </a:p>
          <a:p>
            <a:pPr marL="1142971" lvl="1" indent="-609585"/>
            <a:r>
              <a:rPr lang="en-GB" dirty="0"/>
              <a:t>Soft silt</a:t>
            </a:r>
          </a:p>
          <a:p>
            <a:pPr marL="1142971" lvl="1" indent="-609585"/>
            <a:r>
              <a:rPr lang="en-GB" dirty="0"/>
              <a:t>W</a:t>
            </a:r>
            <a:r>
              <a:rPr lang="en-GB" dirty="0" err="1"/>
              <a:t>ater</a:t>
            </a:r>
            <a:r>
              <a:rPr lang="en-GB" dirty="0"/>
              <a:t>-bearing sands</a:t>
            </a:r>
          </a:p>
          <a:p>
            <a:pPr marL="1142971" lvl="1" indent="-609585"/>
            <a:r>
              <a:rPr lang="en-GB" dirty="0"/>
              <a:t>Coal-bearing clay</a:t>
            </a:r>
          </a:p>
          <a:p>
            <a:pPr marL="609585" indent="-609585"/>
            <a:endParaRPr lang="hu-HU" sz="2000" dirty="0"/>
          </a:p>
          <a:p>
            <a:pPr marL="609585" indent="-609585"/>
            <a:r>
              <a:rPr lang="en-GB" sz="2000" dirty="0"/>
              <a:t>Embankment:</a:t>
            </a:r>
          </a:p>
          <a:p>
            <a:pPr marL="1142971" lvl="1" indent="-609585"/>
            <a:r>
              <a:rPr lang="en-GB" dirty="0"/>
              <a:t>200.000 m³ excavated silt</a:t>
            </a:r>
          </a:p>
          <a:p>
            <a:pPr marL="1142971" lvl="1" indent="-609585"/>
            <a:r>
              <a:rPr lang="en-GB" dirty="0"/>
              <a:t>&gt; 20 % (w/w) water content</a:t>
            </a:r>
          </a:p>
          <a:p>
            <a:pPr marL="1142971" lvl="1" indent="-609585"/>
            <a:r>
              <a:rPr lang="en-GB" dirty="0"/>
              <a:t>~ 2.5 % (w/w) Calcium</a:t>
            </a:r>
            <a:r>
              <a:rPr lang="hu-HU" dirty="0"/>
              <a:t>-</a:t>
            </a:r>
            <a:r>
              <a:rPr lang="en-GB" dirty="0"/>
              <a:t>oxide</a:t>
            </a:r>
          </a:p>
          <a:p>
            <a:pPr marL="533386" lvl="1" indent="0">
              <a:buNone/>
            </a:pPr>
            <a:endParaRPr lang="en-GB" dirty="0">
              <a:sym typeface="Wingdings 3"/>
            </a:endParaRPr>
          </a:p>
          <a:p>
            <a:pPr marL="533386" lvl="1" indent="0">
              <a:buNone/>
            </a:pPr>
            <a:r>
              <a:rPr lang="en-GB" dirty="0">
                <a:sym typeface="Wingdings 3"/>
              </a:rPr>
              <a:t>8500 t </a:t>
            </a:r>
            <a:r>
              <a:rPr lang="en-GB" dirty="0"/>
              <a:t>quicklime (CL 90 Q)</a:t>
            </a:r>
          </a:p>
          <a:p>
            <a:endParaRPr lang="en-GB" sz="1600" noProof="0" dirty="0"/>
          </a:p>
        </p:txBody>
      </p:sp>
      <p:pic>
        <p:nvPicPr>
          <p:cNvPr id="9" name="Inhaltsplatzhalter 7">
            <a:extLst>
              <a:ext uri="{FF2B5EF4-FFF2-40B4-BE49-F238E27FC236}">
                <a16:creationId xmlns:a16="http://schemas.microsoft.com/office/drawing/2014/main" id="{E6380BDB-9064-2C9E-8A55-4A0F333B15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4422" y="3373624"/>
            <a:ext cx="4475678" cy="2938619"/>
          </a:xfrm>
          <a:prstGeom prst="rect">
            <a:avLst/>
          </a:prstGeom>
        </p:spPr>
      </p:pic>
      <p:pic>
        <p:nvPicPr>
          <p:cNvPr id="8" name="Picture 2" descr="N:\stb-ltg\Administration StB\Eula\ATF\Research\Bv mit Kalk_Langzeit\Baustelle Deggendorf.jpg">
            <a:extLst>
              <a:ext uri="{FF2B5EF4-FFF2-40B4-BE49-F238E27FC236}">
                <a16:creationId xmlns:a16="http://schemas.microsoft.com/office/drawing/2014/main" id="{4BF43F0D-1B49-9BE4-EBF1-E4F8E92104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2909" y="817518"/>
            <a:ext cx="4489852" cy="2938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DB08E0D-D688-4B45-C754-B663AF538A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97180" y="545757"/>
            <a:ext cx="1576639" cy="1441378"/>
          </a:xfrm>
          <a:prstGeom prst="rect">
            <a:avLst/>
          </a:prstGeom>
        </p:spPr>
      </p:pic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A8493290-4EB4-4536-E6FE-27193AA6F1B2}"/>
              </a:ext>
            </a:extLst>
          </p:cNvPr>
          <p:cNvSpPr txBox="1">
            <a:spLocks/>
          </p:cNvSpPr>
          <p:nvPr/>
        </p:nvSpPr>
        <p:spPr>
          <a:xfrm>
            <a:off x="10055380" y="6342803"/>
            <a:ext cx="1325245" cy="365125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Source : BVK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3801182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7A0A55-B6D4-5802-5382-B9046C6111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Drilling site</a:t>
            </a:r>
            <a:endParaRPr lang="sk-SK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A3F5AA-8884-3024-A98E-67351E302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99856" y="1894940"/>
            <a:ext cx="10540590" cy="4286249"/>
          </a:xfrm>
        </p:spPr>
        <p:txBody>
          <a:bodyPr>
            <a:normAutofit/>
          </a:bodyPr>
          <a:lstStyle/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sz="2000" kern="0" dirty="0"/>
              <a:t>Sampling</a:t>
            </a:r>
          </a:p>
          <a:p>
            <a:pPr marL="644514" lvl="2"/>
            <a:r>
              <a:rPr lang="en-GB" sz="2000" kern="0" dirty="0"/>
              <a:t>1990 (11 years)</a:t>
            </a:r>
          </a:p>
          <a:p>
            <a:pPr marL="644514" lvl="2"/>
            <a:r>
              <a:rPr lang="en-GB" sz="2000" kern="0" dirty="0"/>
              <a:t>2013 (34 years)</a:t>
            </a:r>
            <a:endParaRPr lang="hu-HU" sz="2000" kern="0" dirty="0"/>
          </a:p>
          <a:p>
            <a:pPr marL="412739" lvl="1"/>
            <a:endParaRPr lang="en-GB" kern="0" dirty="0"/>
          </a:p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sz="2000" kern="0" dirty="0"/>
              <a:t>Both studies</a:t>
            </a:r>
          </a:p>
          <a:p>
            <a:pPr marL="644514" lvl="2"/>
            <a:r>
              <a:rPr lang="en-GB" sz="2000" kern="0" dirty="0"/>
              <a:t>Compressive strength</a:t>
            </a:r>
          </a:p>
          <a:p>
            <a:pPr marL="644514" lvl="2"/>
            <a:r>
              <a:rPr lang="en-GB" sz="2000" kern="0" dirty="0"/>
              <a:t>Water content</a:t>
            </a:r>
            <a:endParaRPr lang="hu-HU" sz="2000" kern="0" dirty="0"/>
          </a:p>
          <a:p>
            <a:pPr marL="412739" lvl="1"/>
            <a:endParaRPr lang="en-GB" kern="0" dirty="0"/>
          </a:p>
          <a:p>
            <a:pPr marL="609585" indent="-609585">
              <a:buFont typeface="Arial" panose="020B0604020202020204" pitchFamily="34" charset="0"/>
              <a:buChar char="•"/>
            </a:pPr>
            <a:r>
              <a:rPr lang="en-GB" sz="2000" kern="0" dirty="0"/>
              <a:t>2013 study</a:t>
            </a:r>
          </a:p>
          <a:p>
            <a:pPr marL="631825" lvl="2"/>
            <a:r>
              <a:rPr lang="en-GB" sz="2000" kern="0" dirty="0"/>
              <a:t>Chemical analys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26947E-E514-AD77-C032-5DC3769FE77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/>
              <a:t>Soil improvement with quicklime</a:t>
            </a:r>
          </a:p>
        </p:txBody>
      </p:sp>
      <p:pic>
        <p:nvPicPr>
          <p:cNvPr id="6" name="Picture 2" descr="N:\stb-ltg\Administration StB\Eula\ATF - CETF\Research\Bv mit Kalk_Langzeit\2013-11-27 Bogen-Bohrung_Bilder\DSC09844.JPG">
            <a:extLst>
              <a:ext uri="{FF2B5EF4-FFF2-40B4-BE49-F238E27FC236}">
                <a16:creationId xmlns:a16="http://schemas.microsoft.com/office/drawing/2014/main" id="{FA06781D-3367-FE74-336E-87F91D8CF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49823" y="676811"/>
            <a:ext cx="3554161" cy="5350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8203077-0150-7E5F-A5EA-58ECC536D1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97180" y="545757"/>
            <a:ext cx="1576639" cy="1441378"/>
          </a:xfrm>
          <a:prstGeom prst="rect">
            <a:avLst/>
          </a:prstGeom>
        </p:spPr>
      </p:pic>
      <p:sp>
        <p:nvSpPr>
          <p:cNvPr id="8" name="Rechteck 11">
            <a:extLst>
              <a:ext uri="{FF2B5EF4-FFF2-40B4-BE49-F238E27FC236}">
                <a16:creationId xmlns:a16="http://schemas.microsoft.com/office/drawing/2014/main" id="{F2C0949D-9035-821C-840A-FD96A4F7AC91}"/>
              </a:ext>
            </a:extLst>
          </p:cNvPr>
          <p:cNvSpPr/>
          <p:nvPr/>
        </p:nvSpPr>
        <p:spPr>
          <a:xfrm>
            <a:off x="6249823" y="6031769"/>
            <a:ext cx="355416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kern="0" dirty="0">
                <a:latin typeface="DIN Offc" panose="020B0504020101020102" pitchFamily="34" charset="0"/>
              </a:rPr>
              <a:t>Drilling site 1990 &amp; 2013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18449D03-FBD7-2F79-96F5-548A0F0DDD86}"/>
              </a:ext>
            </a:extLst>
          </p:cNvPr>
          <p:cNvSpPr txBox="1">
            <a:spLocks/>
          </p:cNvSpPr>
          <p:nvPr/>
        </p:nvSpPr>
        <p:spPr>
          <a:xfrm>
            <a:off x="10055380" y="6342803"/>
            <a:ext cx="1325245" cy="365125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Source : BVK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7786033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21CA5F-D637-1C38-073C-A3BD4B3E18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noProof="0" dirty="0"/>
              <a:t>Embankment</a:t>
            </a:r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284242-9D19-D658-B66D-E4766154347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/>
              <a:t>Soil improvement with quickli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432831-953D-53F4-9678-26E0FA187B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7180" y="545757"/>
            <a:ext cx="1576639" cy="1441378"/>
          </a:xfrm>
          <a:prstGeom prst="rect">
            <a:avLst/>
          </a:prstGeom>
        </p:spPr>
      </p:pic>
      <p:pic>
        <p:nvPicPr>
          <p:cNvPr id="7" name="Grafik 12">
            <a:extLst>
              <a:ext uri="{FF2B5EF4-FFF2-40B4-BE49-F238E27FC236}">
                <a16:creationId xmlns:a16="http://schemas.microsoft.com/office/drawing/2014/main" id="{3D7EB3CA-A1F3-E349-0EA2-08402A82DF3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79" y="1741786"/>
            <a:ext cx="9373714" cy="2317466"/>
          </a:xfrm>
          <a:prstGeom prst="rect">
            <a:avLst/>
          </a:prstGeom>
        </p:spPr>
      </p:pic>
      <p:pic>
        <p:nvPicPr>
          <p:cNvPr id="8" name="Grafik 16">
            <a:extLst>
              <a:ext uri="{FF2B5EF4-FFF2-40B4-BE49-F238E27FC236}">
                <a16:creationId xmlns:a16="http://schemas.microsoft.com/office/drawing/2014/main" id="{A3EDE9A7-6D9F-6F1D-C936-A3CA0738AC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79" y="3983027"/>
            <a:ext cx="6299285" cy="2388479"/>
          </a:xfrm>
          <a:prstGeom prst="rect">
            <a:avLst/>
          </a:prstGeo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6DB2A59D-F64C-3CF4-09E8-4AD152270738}"/>
              </a:ext>
            </a:extLst>
          </p:cNvPr>
          <p:cNvSpPr txBox="1">
            <a:spLocks/>
          </p:cNvSpPr>
          <p:nvPr/>
        </p:nvSpPr>
        <p:spPr>
          <a:xfrm>
            <a:off x="10322876" y="6475664"/>
            <a:ext cx="1325245" cy="365125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Source : BVK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2294304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8CEFBE-E015-6386-3D29-B67A5E7EB2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Sampling</a:t>
            </a:r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5BC5E0-6BB4-3836-AF56-26541C82287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/>
              <a:t>Soil improvement with quicklim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6191CD-6C99-989B-D8CD-65F973B274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7180" y="545757"/>
            <a:ext cx="1576639" cy="1441378"/>
          </a:xfrm>
          <a:prstGeom prst="rect">
            <a:avLst/>
          </a:prstGeom>
        </p:spPr>
      </p:pic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B320F204-0E49-8EA0-FD7B-B12917164CDA}"/>
              </a:ext>
            </a:extLst>
          </p:cNvPr>
          <p:cNvSpPr txBox="1">
            <a:spLocks/>
          </p:cNvSpPr>
          <p:nvPr/>
        </p:nvSpPr>
        <p:spPr>
          <a:xfrm>
            <a:off x="10055380" y="6342803"/>
            <a:ext cx="1325245" cy="365125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Source : BVK</a:t>
            </a:r>
            <a:endParaRPr lang="de-DE" sz="1200" dirty="0"/>
          </a:p>
        </p:txBody>
      </p:sp>
      <p:pic>
        <p:nvPicPr>
          <p:cNvPr id="8" name="Picture 2" descr="C:\Daten\Eula\ATF - CE TF\Research\Bv mit Kalk_Langzeit\Bilder 2013\DSC09832.JPG">
            <a:extLst>
              <a:ext uri="{FF2B5EF4-FFF2-40B4-BE49-F238E27FC236}">
                <a16:creationId xmlns:a16="http://schemas.microsoft.com/office/drawing/2014/main" id="{747D5049-E29E-01DF-23CC-31BBF9B0DD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9460" y="1520980"/>
            <a:ext cx="3097333" cy="4660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C:\Daten\Eula\ATF - CE TF\Research\Bv mit Kalk_Langzeit\Bilder 2013\Proben Dokumentation\Bilder verkleinert\Probe 1.jpg">
            <a:extLst>
              <a:ext uri="{FF2B5EF4-FFF2-40B4-BE49-F238E27FC236}">
                <a16:creationId xmlns:a16="http://schemas.microsoft.com/office/drawing/2014/main" id="{17868418-3B3A-5394-AEC4-31DA28800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164" y="4201386"/>
            <a:ext cx="2974631" cy="1979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Daten\Eula\ATF - CE TF\Research\Bv mit Kalk_Langzeit\Bilder 2013\Proben Dokumentation\Bilder verkleinert\Probe 3a.jpg">
            <a:extLst>
              <a:ext uri="{FF2B5EF4-FFF2-40B4-BE49-F238E27FC236}">
                <a16:creationId xmlns:a16="http://schemas.microsoft.com/office/drawing/2014/main" id="{2632A833-32FA-8898-51B9-607C1E79D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164" y="1520980"/>
            <a:ext cx="3838376" cy="2554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88978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662A00-23D7-3EAF-D124-0671C448651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Reactions : problem statement</a:t>
            </a:r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B279BB-AAE9-E34C-3D36-E7A15D5D0B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/>
              <a:t>Soil improvement with quicklim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33BD326-7287-31EE-D3F0-20A9BC1193CA}"/>
              </a:ext>
            </a:extLst>
          </p:cNvPr>
          <p:cNvGrpSpPr/>
          <p:nvPr/>
        </p:nvGrpSpPr>
        <p:grpSpPr>
          <a:xfrm>
            <a:off x="2238393" y="1935898"/>
            <a:ext cx="9195880" cy="3858150"/>
            <a:chOff x="2682774" y="1901715"/>
            <a:chExt cx="8770713" cy="3360373"/>
          </a:xfrm>
        </p:grpSpPr>
        <p:sp>
          <p:nvSpPr>
            <p:cNvPr id="9" name="Pfeil nach rechts 14">
              <a:extLst>
                <a:ext uri="{FF2B5EF4-FFF2-40B4-BE49-F238E27FC236}">
                  <a16:creationId xmlns:a16="http://schemas.microsoft.com/office/drawing/2014/main" id="{27645526-4277-FA37-0C03-78427B6B2683}"/>
                </a:ext>
              </a:extLst>
            </p:cNvPr>
            <p:cNvSpPr/>
            <p:nvPr/>
          </p:nvSpPr>
          <p:spPr>
            <a:xfrm rot="2700000">
              <a:off x="4450593" y="2343961"/>
              <a:ext cx="1319999" cy="658840"/>
            </a:xfrm>
            <a:prstGeom prst="rightArrow">
              <a:avLst/>
            </a:prstGeom>
            <a:solidFill>
              <a:srgbClr val="333399"/>
            </a:solidFill>
            <a:effectLst/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133" dirty="0">
                  <a:latin typeface="Calibri" panose="020F0502020204030204" pitchFamily="34" charset="0"/>
                </a:rPr>
                <a:t>Clay</a:t>
              </a:r>
            </a:p>
          </p:txBody>
        </p:sp>
        <p:sp>
          <p:nvSpPr>
            <p:cNvPr id="10" name="Pfeil nach rechts 15">
              <a:extLst>
                <a:ext uri="{FF2B5EF4-FFF2-40B4-BE49-F238E27FC236}">
                  <a16:creationId xmlns:a16="http://schemas.microsoft.com/office/drawing/2014/main" id="{558D30ED-1F63-BFEA-2903-6E12F5CADE27}"/>
                </a:ext>
              </a:extLst>
            </p:cNvPr>
            <p:cNvSpPr/>
            <p:nvPr/>
          </p:nvSpPr>
          <p:spPr>
            <a:xfrm rot="-2700000">
              <a:off x="4450592" y="4145737"/>
              <a:ext cx="1319999" cy="658840"/>
            </a:xfrm>
            <a:prstGeom prst="rightArrow">
              <a:avLst/>
            </a:prstGeom>
            <a:solidFill>
              <a:srgbClr val="333399"/>
            </a:solidFill>
            <a:effectLst/>
            <a:scene3d>
              <a:camera prst="orthographicFront">
                <a:rot lat="0" lon="0" rev="0"/>
              </a:camera>
              <a:lightRig rig="contrasting" dir="t">
                <a:rot lat="0" lon="0" rev="1200000"/>
              </a:lightRig>
            </a:scene3d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133" dirty="0">
                  <a:latin typeface="Calibri" panose="020F0502020204030204" pitchFamily="34" charset="0"/>
                </a:rPr>
                <a:t>CO</a:t>
              </a:r>
              <a:r>
                <a:rPr lang="de-DE" sz="2133" baseline="-25000" dirty="0">
                  <a:latin typeface="Calibri" panose="020F0502020204030204" pitchFamily="34" charset="0"/>
                </a:rPr>
                <a:t>2</a:t>
              </a:r>
              <a:endParaRPr lang="de-DE" sz="2133" dirty="0">
                <a:latin typeface="Calibri" panose="020F0502020204030204" pitchFamily="34" charset="0"/>
              </a:endParaRPr>
            </a:p>
          </p:txBody>
        </p:sp>
        <p:cxnSp>
          <p:nvCxnSpPr>
            <p:cNvPr id="11" name="Gerade Verbindung 23">
              <a:extLst>
                <a:ext uri="{FF2B5EF4-FFF2-40B4-BE49-F238E27FC236}">
                  <a16:creationId xmlns:a16="http://schemas.microsoft.com/office/drawing/2014/main" id="{0C0958A6-C365-23B1-E50A-EE97463B2EC1}"/>
                </a:ext>
              </a:extLst>
            </p:cNvPr>
            <p:cNvCxnSpPr/>
            <p:nvPr/>
          </p:nvCxnSpPr>
          <p:spPr>
            <a:xfrm flipV="1">
              <a:off x="6235169" y="3126784"/>
              <a:ext cx="672075" cy="444229"/>
            </a:xfrm>
            <a:prstGeom prst="line">
              <a:avLst/>
            </a:prstGeom>
            <a:ln w="25400">
              <a:solidFill>
                <a:srgbClr val="33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24">
              <a:extLst>
                <a:ext uri="{FF2B5EF4-FFF2-40B4-BE49-F238E27FC236}">
                  <a16:creationId xmlns:a16="http://schemas.microsoft.com/office/drawing/2014/main" id="{B4487372-5806-66F8-97EC-CDDE8F9BB22F}"/>
                </a:ext>
              </a:extLst>
            </p:cNvPr>
            <p:cNvCxnSpPr/>
            <p:nvPr/>
          </p:nvCxnSpPr>
          <p:spPr>
            <a:xfrm>
              <a:off x="6235169" y="3597227"/>
              <a:ext cx="672075" cy="466229"/>
            </a:xfrm>
            <a:prstGeom prst="line">
              <a:avLst/>
            </a:prstGeom>
            <a:ln w="25400">
              <a:solidFill>
                <a:srgbClr val="33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3" name="Inhaltsplatzhalter 6">
              <a:extLst>
                <a:ext uri="{FF2B5EF4-FFF2-40B4-BE49-F238E27FC236}">
                  <a16:creationId xmlns:a16="http://schemas.microsoft.com/office/drawing/2014/main" id="{F80E550D-17E0-951D-B624-0BF13ECECDD7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3588296"/>
                </p:ext>
              </p:extLst>
            </p:nvPr>
          </p:nvGraphicFramePr>
          <p:xfrm>
            <a:off x="2682774" y="1901715"/>
            <a:ext cx="5664629" cy="336037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4" name="Textfeld 23">
              <a:extLst>
                <a:ext uri="{FF2B5EF4-FFF2-40B4-BE49-F238E27FC236}">
                  <a16:creationId xmlns:a16="http://schemas.microsoft.com/office/drawing/2014/main" id="{54982AB6-1784-D214-9DCB-2B9D236597FE}"/>
                </a:ext>
              </a:extLst>
            </p:cNvPr>
            <p:cNvSpPr txBox="1"/>
            <p:nvPr/>
          </p:nvSpPr>
          <p:spPr>
            <a:xfrm>
              <a:off x="7691307" y="3340249"/>
              <a:ext cx="376218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000" b="1" dirty="0">
                  <a:solidFill>
                    <a:srgbClr val="FF0000"/>
                  </a:solidFill>
                </a:rPr>
                <a:t>Distribution</a:t>
              </a:r>
              <a:r>
                <a:rPr lang="de-DE" sz="2000" b="1" dirty="0">
                  <a:solidFill>
                    <a:srgbClr val="FF0000"/>
                  </a:solidFill>
                </a:rPr>
                <a:t>?</a:t>
              </a:r>
            </a:p>
          </p:txBody>
        </p:sp>
        <p:sp>
          <p:nvSpPr>
            <p:cNvPr id="15" name="Textfeld 23">
              <a:extLst>
                <a:ext uri="{FF2B5EF4-FFF2-40B4-BE49-F238E27FC236}">
                  <a16:creationId xmlns:a16="http://schemas.microsoft.com/office/drawing/2014/main" id="{5E42D6C0-D1AD-EC4F-7D46-2A08D17BAB02}"/>
                </a:ext>
              </a:extLst>
            </p:cNvPr>
            <p:cNvSpPr txBox="1"/>
            <p:nvPr/>
          </p:nvSpPr>
          <p:spPr>
            <a:xfrm>
              <a:off x="5810217" y="2420598"/>
              <a:ext cx="37621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Puzzolanic reactions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" name="Textfeld 23">
              <a:extLst>
                <a:ext uri="{FF2B5EF4-FFF2-40B4-BE49-F238E27FC236}">
                  <a16:creationId xmlns:a16="http://schemas.microsoft.com/office/drawing/2014/main" id="{A743838C-37BA-FBBF-58E7-7BA709D51553}"/>
                </a:ext>
              </a:extLst>
            </p:cNvPr>
            <p:cNvSpPr txBox="1"/>
            <p:nvPr/>
          </p:nvSpPr>
          <p:spPr>
            <a:xfrm>
              <a:off x="5810217" y="4333672"/>
              <a:ext cx="37621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tx2"/>
                  </a:solidFill>
                </a:rPr>
                <a:t>Carbonation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A36C7325-274E-00F7-1D99-C794F39C12AA}"/>
              </a:ext>
            </a:extLst>
          </p:cNvPr>
          <p:cNvSpPr txBox="1">
            <a:spLocks/>
          </p:cNvSpPr>
          <p:nvPr/>
        </p:nvSpPr>
        <p:spPr>
          <a:xfrm>
            <a:off x="10055380" y="6342803"/>
            <a:ext cx="1325245" cy="365125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Source : BVK</a:t>
            </a:r>
            <a:endParaRPr lang="de-DE" sz="120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7CCA4B5-96C2-A1FD-B4D5-A09A04314A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97180" y="545757"/>
            <a:ext cx="1576639" cy="1441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2039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5A7A8B-A376-1485-2CC5-E44687E220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Reaction quantification </a:t>
            </a:r>
            <a:r>
              <a:rPr lang="en-GB" b="0" dirty="0"/>
              <a:t>(mean values)</a:t>
            </a:r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79E236-5B81-97A3-7EC4-B4C1AE1F7AA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sz="1600" dirty="0"/>
              <a:t>Soil improvement with quicklime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B0467ACF-9E32-E0F0-229B-969CBD984354}"/>
              </a:ext>
            </a:extLst>
          </p:cNvPr>
          <p:cNvSpPr txBox="1">
            <a:spLocks/>
          </p:cNvSpPr>
          <p:nvPr/>
        </p:nvSpPr>
        <p:spPr>
          <a:xfrm>
            <a:off x="10055380" y="6342803"/>
            <a:ext cx="1325245" cy="365125"/>
          </a:xfr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Source : BVK</a:t>
            </a:r>
            <a:endParaRPr lang="de-DE" sz="1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ACF7D45-CB72-43E5-07A8-0F0BF0F427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7180" y="545757"/>
            <a:ext cx="1576639" cy="1441378"/>
          </a:xfrm>
          <a:prstGeom prst="rect">
            <a:avLst/>
          </a:prstGeom>
        </p:spPr>
      </p:pic>
      <p:graphicFrame>
        <p:nvGraphicFramePr>
          <p:cNvPr id="8" name="Inhaltsplatzhalter 8">
            <a:extLst>
              <a:ext uri="{FF2B5EF4-FFF2-40B4-BE49-F238E27FC236}">
                <a16:creationId xmlns:a16="http://schemas.microsoft.com/office/drawing/2014/main" id="{39B37F16-5D33-B7CF-0FD5-81BE21EA8068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820996513"/>
              </p:ext>
            </p:extLst>
          </p:nvPr>
        </p:nvGraphicFramePr>
        <p:xfrm>
          <a:off x="1076770" y="1713668"/>
          <a:ext cx="9902202" cy="42231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89997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VXi6bnRnTfqGIwQhu1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6F68Y2ZwAy6FlGotT_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FM3xcRGLR1fOeX8iLG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91scQIbaG30WM.yUas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pORP1Q2w4kaz42p8KFAg"/>
</p:tagLst>
</file>

<file path=ppt/theme/theme1.xml><?xml version="1.0" encoding="utf-8"?>
<a:theme xmlns:a="http://schemas.openxmlformats.org/drawingml/2006/main" name="Master slide">
  <a:themeElements>
    <a:clrScheme name="Carmeuse Theme Colors">
      <a:dk1>
        <a:srgbClr val="10497C"/>
      </a:dk1>
      <a:lt1>
        <a:srgbClr val="FFFFFF"/>
      </a:lt1>
      <a:dk2>
        <a:srgbClr val="248DC1"/>
      </a:dk2>
      <a:lt2>
        <a:srgbClr val="CFD2D3"/>
      </a:lt2>
      <a:accent1>
        <a:srgbClr val="0067B3"/>
      </a:accent1>
      <a:accent2>
        <a:srgbClr val="31B4E6"/>
      </a:accent2>
      <a:accent3>
        <a:srgbClr val="323E48"/>
      </a:accent3>
      <a:accent4>
        <a:srgbClr val="1D252C"/>
      </a:accent4>
      <a:accent5>
        <a:srgbClr val="F58420"/>
      </a:accent5>
      <a:accent6>
        <a:srgbClr val="0098A7"/>
      </a:accent6>
      <a:hlink>
        <a:srgbClr val="F58420"/>
      </a:hlink>
      <a:folHlink>
        <a:srgbClr val="0098A7"/>
      </a:folHlink>
    </a:clrScheme>
    <a:fontScheme name="Carmeus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BD64B89D-F997-46A6-A76E-2666C6DFF948}" vid="{1B80DBF5-1B40-4ABA-BF2B-03637D45458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armeuse Colors">
      <a:dk1>
        <a:srgbClr val="1689CA"/>
      </a:dk1>
      <a:lt1>
        <a:srgbClr val="005391"/>
      </a:lt1>
      <a:dk2>
        <a:srgbClr val="85D2F5"/>
      </a:dk2>
      <a:lt2>
        <a:srgbClr val="202834"/>
      </a:lt2>
      <a:accent1>
        <a:srgbClr val="9195B0"/>
      </a:accent1>
      <a:accent2>
        <a:srgbClr val="FFFFFF"/>
      </a:accent2>
      <a:accent3>
        <a:srgbClr val="2F9397"/>
      </a:accent3>
      <a:accent4>
        <a:srgbClr val="F6861F"/>
      </a:accent4>
      <a:accent5>
        <a:srgbClr val="1066B1"/>
      </a:accent5>
      <a:accent6>
        <a:srgbClr val="4AB1E4"/>
      </a:accent6>
      <a:hlink>
        <a:srgbClr val="2E3B4C"/>
      </a:hlink>
      <a:folHlink>
        <a:srgbClr val="D5DBE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8</TotalTime>
  <Words>392</Words>
  <Application>Microsoft Office PowerPoint</Application>
  <PresentationFormat>Widescreen</PresentationFormat>
  <Paragraphs>102</Paragraphs>
  <Slides>12</Slides>
  <Notes>1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DIN Offc</vt:lpstr>
      <vt:lpstr>DIN Offc Light</vt:lpstr>
      <vt:lpstr>DIN Offc Medium</vt:lpstr>
      <vt:lpstr>Tahoma</vt:lpstr>
      <vt:lpstr>Wingdings</vt:lpstr>
      <vt:lpstr>Master slide</vt:lpstr>
      <vt:lpstr>think-cell Slide</vt:lpstr>
      <vt:lpstr>PowerPoint Presentation</vt:lpstr>
      <vt:lpstr>Soil improvement with quicklime  Quantification of the carbonation rate  in an embankment  after 34 yea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ta Tímea</dc:creator>
  <cp:lastModifiedBy>Barta Tímea</cp:lastModifiedBy>
  <cp:revision>1</cp:revision>
  <dcterms:created xsi:type="dcterms:W3CDTF">2022-12-04T19:14:35Z</dcterms:created>
  <dcterms:modified xsi:type="dcterms:W3CDTF">2022-12-05T11:04:38Z</dcterms:modified>
</cp:coreProperties>
</file>